
<file path=[Content_Types].xml><?xml version="1.0" encoding="utf-8"?>
<Types xmlns="http://schemas.openxmlformats.org/package/2006/content-types">
  <Default Extension="9E8CE6D0" ContentType="image/pn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 id="2147483791" r:id="rId5"/>
  </p:sldMasterIdLst>
  <p:notesMasterIdLst>
    <p:notesMasterId r:id="rId29"/>
  </p:notesMasterIdLst>
  <p:sldIdLst>
    <p:sldId id="256" r:id="rId6"/>
    <p:sldId id="20836" r:id="rId7"/>
    <p:sldId id="20832" r:id="rId8"/>
    <p:sldId id="20837" r:id="rId9"/>
    <p:sldId id="20838" r:id="rId10"/>
    <p:sldId id="20852" r:id="rId11"/>
    <p:sldId id="20856" r:id="rId12"/>
    <p:sldId id="20857" r:id="rId13"/>
    <p:sldId id="20840" r:id="rId14"/>
    <p:sldId id="20841" r:id="rId15"/>
    <p:sldId id="20842" r:id="rId16"/>
    <p:sldId id="20839" r:id="rId17"/>
    <p:sldId id="20833" r:id="rId18"/>
    <p:sldId id="20835" r:id="rId19"/>
    <p:sldId id="20851" r:id="rId20"/>
    <p:sldId id="20850" r:id="rId21"/>
    <p:sldId id="20858" r:id="rId22"/>
    <p:sldId id="20859" r:id="rId23"/>
    <p:sldId id="20853" r:id="rId24"/>
    <p:sldId id="20854" r:id="rId25"/>
    <p:sldId id="20855" r:id="rId26"/>
    <p:sldId id="20848" r:id="rId27"/>
    <p:sldId id="259" r:id="rId2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13CC531-249E-4646-AE38-7802416DEDAC}">
          <p14:sldIdLst>
            <p14:sldId id="256"/>
            <p14:sldId id="20836"/>
            <p14:sldId id="20832"/>
            <p14:sldId id="20837"/>
            <p14:sldId id="20838"/>
            <p14:sldId id="20852"/>
            <p14:sldId id="20856"/>
            <p14:sldId id="20857"/>
            <p14:sldId id="20840"/>
            <p14:sldId id="20841"/>
            <p14:sldId id="20842"/>
            <p14:sldId id="20839"/>
            <p14:sldId id="20833"/>
            <p14:sldId id="20835"/>
            <p14:sldId id="20851"/>
            <p14:sldId id="20850"/>
            <p14:sldId id="20858"/>
            <p14:sldId id="20859"/>
            <p14:sldId id="20853"/>
            <p14:sldId id="20854"/>
            <p14:sldId id="20855"/>
            <p14:sldId id="20848"/>
            <p14:sldId id="25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nturione, Vittorio" initials="CV" lastIdx="1" clrIdx="0">
    <p:extLst>
      <p:ext uri="{19B8F6BF-5375-455C-9EA6-DF929625EA0E}">
        <p15:presenceInfo xmlns:p15="http://schemas.microsoft.com/office/powerpoint/2012/main" userId="S::vittorio.centurione@accenture.com::4ea74cf0-023b-4086-96b5-c11f6770f13d" providerId="AD"/>
      </p:ext>
    </p:extLst>
  </p:cmAuthor>
  <p:cmAuthor id="2" name="Hernalsteens Floriane" initials="HF" lastIdx="1" clrIdx="1">
    <p:extLst>
      <p:ext uri="{19B8F6BF-5375-455C-9EA6-DF929625EA0E}">
        <p15:presenceInfo xmlns:p15="http://schemas.microsoft.com/office/powerpoint/2012/main" userId="S::Floriane.Hernalsteens@europ-assistance.be::e4ac8646-f127-43ae-97bc-bc6c5c05b4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52127"/>
    <a:srgbClr val="EE7F6B"/>
    <a:srgbClr val="262626"/>
    <a:srgbClr val="18191A"/>
    <a:srgbClr val="A81437"/>
    <a:srgbClr val="FEFBFA"/>
    <a:srgbClr val="FCF3F3"/>
    <a:srgbClr val="F0F0F1"/>
    <a:srgbClr val="FDEF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C80F40-9485-4335-83C6-9B272BE180E2}" v="34" dt="2020-11-06T14:11:36.2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33" autoAdjust="0"/>
  </p:normalViewPr>
  <p:slideViewPr>
    <p:cSldViewPr snapToGrid="0">
      <p:cViewPr varScale="1">
        <p:scale>
          <a:sx n="103" d="100"/>
          <a:sy n="103" d="100"/>
        </p:scale>
        <p:origin x="136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nturione, Vittorio" userId="4ea74cf0-023b-4086-96b5-c11f6770f13d" providerId="ADAL" clId="{E8C80F40-9485-4335-83C6-9B272BE180E2}"/>
    <pc:docChg chg="undo custSel addSld delSld modSld sldOrd delMainMaster addSection delSection modSection">
      <pc:chgData name="Centurione, Vittorio" userId="4ea74cf0-023b-4086-96b5-c11f6770f13d" providerId="ADAL" clId="{E8C80F40-9485-4335-83C6-9B272BE180E2}" dt="2020-11-06T14:14:06.082" v="621" actId="20577"/>
      <pc:docMkLst>
        <pc:docMk/>
      </pc:docMkLst>
      <pc:sldChg chg="modSp">
        <pc:chgData name="Centurione, Vittorio" userId="4ea74cf0-023b-4086-96b5-c11f6770f13d" providerId="ADAL" clId="{E8C80F40-9485-4335-83C6-9B272BE180E2}" dt="2020-11-05T16:27:40.806" v="45" actId="13926"/>
        <pc:sldMkLst>
          <pc:docMk/>
          <pc:sldMk cId="3705976089" sldId="256"/>
        </pc:sldMkLst>
        <pc:spChg chg="mod">
          <ac:chgData name="Centurione, Vittorio" userId="4ea74cf0-023b-4086-96b5-c11f6770f13d" providerId="ADAL" clId="{E8C80F40-9485-4335-83C6-9B272BE180E2}" dt="2020-11-05T16:27:24.808" v="40" actId="20577"/>
          <ac:spMkLst>
            <pc:docMk/>
            <pc:sldMk cId="3705976089" sldId="256"/>
            <ac:spMk id="4" creationId="{2676E6B7-FAA0-4F5E-9593-124CBC5AD5CA}"/>
          </ac:spMkLst>
        </pc:spChg>
        <pc:spChg chg="mod">
          <ac:chgData name="Centurione, Vittorio" userId="4ea74cf0-023b-4086-96b5-c11f6770f13d" providerId="ADAL" clId="{E8C80F40-9485-4335-83C6-9B272BE180E2}" dt="2020-11-05T16:27:40.806" v="45" actId="13926"/>
          <ac:spMkLst>
            <pc:docMk/>
            <pc:sldMk cId="3705976089" sldId="256"/>
            <ac:spMk id="11" creationId="{00000000-0000-0000-0000-000000000000}"/>
          </ac:spMkLst>
        </pc:spChg>
      </pc:sldChg>
      <pc:sldChg chg="ord">
        <pc:chgData name="Centurione, Vittorio" userId="4ea74cf0-023b-4086-96b5-c11f6770f13d" providerId="ADAL" clId="{E8C80F40-9485-4335-83C6-9B272BE180E2}" dt="2020-11-05T16:28:27.345" v="148"/>
        <pc:sldMkLst>
          <pc:docMk/>
          <pc:sldMk cId="2742870053" sldId="259"/>
        </pc:sldMkLst>
      </pc:sldChg>
      <pc:sldChg chg="del">
        <pc:chgData name="Centurione, Vittorio" userId="4ea74cf0-023b-4086-96b5-c11f6770f13d" providerId="ADAL" clId="{E8C80F40-9485-4335-83C6-9B272BE180E2}" dt="2020-11-05T16:28:24.013" v="136" actId="2696"/>
        <pc:sldMkLst>
          <pc:docMk/>
          <pc:sldMk cId="1848555285" sldId="7822"/>
        </pc:sldMkLst>
      </pc:sldChg>
      <pc:sldChg chg="del">
        <pc:chgData name="Centurione, Vittorio" userId="4ea74cf0-023b-4086-96b5-c11f6770f13d" providerId="ADAL" clId="{E8C80F40-9485-4335-83C6-9B272BE180E2}" dt="2020-11-05T16:28:23.209" v="96" actId="2696"/>
        <pc:sldMkLst>
          <pc:docMk/>
          <pc:sldMk cId="2712489256" sldId="7831"/>
        </pc:sldMkLst>
      </pc:sldChg>
      <pc:sldChg chg="del">
        <pc:chgData name="Centurione, Vittorio" userId="4ea74cf0-023b-4086-96b5-c11f6770f13d" providerId="ADAL" clId="{E8C80F40-9485-4335-83C6-9B272BE180E2}" dt="2020-11-05T16:28:23.266" v="97" actId="2696"/>
        <pc:sldMkLst>
          <pc:docMk/>
          <pc:sldMk cId="1943737130" sldId="20577"/>
        </pc:sldMkLst>
      </pc:sldChg>
      <pc:sldChg chg="del">
        <pc:chgData name="Centurione, Vittorio" userId="4ea74cf0-023b-4086-96b5-c11f6770f13d" providerId="ADAL" clId="{E8C80F40-9485-4335-83C6-9B272BE180E2}" dt="2020-11-05T16:28:23.330" v="98" actId="2696"/>
        <pc:sldMkLst>
          <pc:docMk/>
          <pc:sldMk cId="3464487652" sldId="20578"/>
        </pc:sldMkLst>
      </pc:sldChg>
      <pc:sldChg chg="del">
        <pc:chgData name="Centurione, Vittorio" userId="4ea74cf0-023b-4086-96b5-c11f6770f13d" providerId="ADAL" clId="{E8C80F40-9485-4335-83C6-9B272BE180E2}" dt="2020-11-05T16:28:23.389" v="99" actId="2696"/>
        <pc:sldMkLst>
          <pc:docMk/>
          <pc:sldMk cId="754740099" sldId="20579"/>
        </pc:sldMkLst>
      </pc:sldChg>
      <pc:sldChg chg="del">
        <pc:chgData name="Centurione, Vittorio" userId="4ea74cf0-023b-4086-96b5-c11f6770f13d" providerId="ADAL" clId="{E8C80F40-9485-4335-83C6-9B272BE180E2}" dt="2020-11-05T16:28:23.444" v="100" actId="2696"/>
        <pc:sldMkLst>
          <pc:docMk/>
          <pc:sldMk cId="3852321794" sldId="20580"/>
        </pc:sldMkLst>
      </pc:sldChg>
      <pc:sldChg chg="del">
        <pc:chgData name="Centurione, Vittorio" userId="4ea74cf0-023b-4086-96b5-c11f6770f13d" providerId="ADAL" clId="{E8C80F40-9485-4335-83C6-9B272BE180E2}" dt="2020-11-05T16:28:22.781" v="58" actId="2696"/>
        <pc:sldMkLst>
          <pc:docMk/>
          <pc:sldMk cId="714115698" sldId="20764"/>
        </pc:sldMkLst>
      </pc:sldChg>
      <pc:sldChg chg="del">
        <pc:chgData name="Centurione, Vittorio" userId="4ea74cf0-023b-4086-96b5-c11f6770f13d" providerId="ADAL" clId="{E8C80F40-9485-4335-83C6-9B272BE180E2}" dt="2020-11-05T16:28:23.484" v="101" actId="2696"/>
        <pc:sldMkLst>
          <pc:docMk/>
          <pc:sldMk cId="1046530424" sldId="20767"/>
        </pc:sldMkLst>
      </pc:sldChg>
      <pc:sldChg chg="del">
        <pc:chgData name="Centurione, Vittorio" userId="4ea74cf0-023b-4086-96b5-c11f6770f13d" providerId="ADAL" clId="{E8C80F40-9485-4335-83C6-9B272BE180E2}" dt="2020-11-05T16:28:24.049" v="137" actId="2696"/>
        <pc:sldMkLst>
          <pc:docMk/>
          <pc:sldMk cId="312909940" sldId="20775"/>
        </pc:sldMkLst>
      </pc:sldChg>
      <pc:sldChg chg="del">
        <pc:chgData name="Centurione, Vittorio" userId="4ea74cf0-023b-4086-96b5-c11f6770f13d" providerId="ADAL" clId="{E8C80F40-9485-4335-83C6-9B272BE180E2}" dt="2020-11-05T16:28:24.096" v="138" actId="2696"/>
        <pc:sldMkLst>
          <pc:docMk/>
          <pc:sldMk cId="319203071" sldId="20776"/>
        </pc:sldMkLst>
      </pc:sldChg>
      <pc:sldChg chg="del">
        <pc:chgData name="Centurione, Vittorio" userId="4ea74cf0-023b-4086-96b5-c11f6770f13d" providerId="ADAL" clId="{E8C80F40-9485-4335-83C6-9B272BE180E2}" dt="2020-11-05T16:28:24.163" v="139" actId="2696"/>
        <pc:sldMkLst>
          <pc:docMk/>
          <pc:sldMk cId="426621002" sldId="20778"/>
        </pc:sldMkLst>
      </pc:sldChg>
      <pc:sldChg chg="del">
        <pc:chgData name="Centurione, Vittorio" userId="4ea74cf0-023b-4086-96b5-c11f6770f13d" providerId="ADAL" clId="{E8C80F40-9485-4335-83C6-9B272BE180E2}" dt="2020-11-05T16:28:24.211" v="140" actId="2696"/>
        <pc:sldMkLst>
          <pc:docMk/>
          <pc:sldMk cId="523606152" sldId="20779"/>
        </pc:sldMkLst>
      </pc:sldChg>
      <pc:sldChg chg="del">
        <pc:chgData name="Centurione, Vittorio" userId="4ea74cf0-023b-4086-96b5-c11f6770f13d" providerId="ADAL" clId="{E8C80F40-9485-4335-83C6-9B272BE180E2}" dt="2020-11-05T16:28:24.296" v="142" actId="2696"/>
        <pc:sldMkLst>
          <pc:docMk/>
          <pc:sldMk cId="2033473919" sldId="20780"/>
        </pc:sldMkLst>
      </pc:sldChg>
      <pc:sldChg chg="del">
        <pc:chgData name="Centurione, Vittorio" userId="4ea74cf0-023b-4086-96b5-c11f6770f13d" providerId="ADAL" clId="{E8C80F40-9485-4335-83C6-9B272BE180E2}" dt="2020-11-05T16:28:24.348" v="143" actId="2696"/>
        <pc:sldMkLst>
          <pc:docMk/>
          <pc:sldMk cId="3001080419" sldId="20781"/>
        </pc:sldMkLst>
      </pc:sldChg>
      <pc:sldChg chg="del">
        <pc:chgData name="Centurione, Vittorio" userId="4ea74cf0-023b-4086-96b5-c11f6770f13d" providerId="ADAL" clId="{E8C80F40-9485-4335-83C6-9B272BE180E2}" dt="2020-11-05T16:28:24.383" v="144" actId="2696"/>
        <pc:sldMkLst>
          <pc:docMk/>
          <pc:sldMk cId="2511185278" sldId="20782"/>
        </pc:sldMkLst>
      </pc:sldChg>
      <pc:sldChg chg="del">
        <pc:chgData name="Centurione, Vittorio" userId="4ea74cf0-023b-4086-96b5-c11f6770f13d" providerId="ADAL" clId="{E8C80F40-9485-4335-83C6-9B272BE180E2}" dt="2020-11-05T16:28:22.797" v="59" actId="2696"/>
        <pc:sldMkLst>
          <pc:docMk/>
          <pc:sldMk cId="4042765015" sldId="20784"/>
        </pc:sldMkLst>
      </pc:sldChg>
      <pc:sldChg chg="del">
        <pc:chgData name="Centurione, Vittorio" userId="4ea74cf0-023b-4086-96b5-c11f6770f13d" providerId="ADAL" clId="{E8C80F40-9485-4335-83C6-9B272BE180E2}" dt="2020-11-05T16:28:23.498" v="102" actId="2696"/>
        <pc:sldMkLst>
          <pc:docMk/>
          <pc:sldMk cId="346661709" sldId="20785"/>
        </pc:sldMkLst>
      </pc:sldChg>
      <pc:sldChg chg="del">
        <pc:chgData name="Centurione, Vittorio" userId="4ea74cf0-023b-4086-96b5-c11f6770f13d" providerId="ADAL" clId="{E8C80F40-9485-4335-83C6-9B272BE180E2}" dt="2020-11-05T16:28:23.513" v="103" actId="2696"/>
        <pc:sldMkLst>
          <pc:docMk/>
          <pc:sldMk cId="180604770" sldId="20786"/>
        </pc:sldMkLst>
      </pc:sldChg>
      <pc:sldChg chg="del">
        <pc:chgData name="Centurione, Vittorio" userId="4ea74cf0-023b-4086-96b5-c11f6770f13d" providerId="ADAL" clId="{E8C80F40-9485-4335-83C6-9B272BE180E2}" dt="2020-11-05T16:28:23.530" v="104" actId="2696"/>
        <pc:sldMkLst>
          <pc:docMk/>
          <pc:sldMk cId="407860808" sldId="20787"/>
        </pc:sldMkLst>
      </pc:sldChg>
      <pc:sldChg chg="del">
        <pc:chgData name="Centurione, Vittorio" userId="4ea74cf0-023b-4086-96b5-c11f6770f13d" providerId="ADAL" clId="{E8C80F40-9485-4335-83C6-9B272BE180E2}" dt="2020-11-05T16:28:23.543" v="105" actId="2696"/>
        <pc:sldMkLst>
          <pc:docMk/>
          <pc:sldMk cId="3281657535" sldId="20788"/>
        </pc:sldMkLst>
      </pc:sldChg>
      <pc:sldChg chg="del">
        <pc:chgData name="Centurione, Vittorio" userId="4ea74cf0-023b-4086-96b5-c11f6770f13d" providerId="ADAL" clId="{E8C80F40-9485-4335-83C6-9B272BE180E2}" dt="2020-11-05T16:28:23.556" v="106" actId="2696"/>
        <pc:sldMkLst>
          <pc:docMk/>
          <pc:sldMk cId="2618315459" sldId="20789"/>
        </pc:sldMkLst>
      </pc:sldChg>
      <pc:sldChg chg="del">
        <pc:chgData name="Centurione, Vittorio" userId="4ea74cf0-023b-4086-96b5-c11f6770f13d" providerId="ADAL" clId="{E8C80F40-9485-4335-83C6-9B272BE180E2}" dt="2020-11-05T16:28:23.568" v="107" actId="2696"/>
        <pc:sldMkLst>
          <pc:docMk/>
          <pc:sldMk cId="3279101113" sldId="20790"/>
        </pc:sldMkLst>
      </pc:sldChg>
      <pc:sldChg chg="del">
        <pc:chgData name="Centurione, Vittorio" userId="4ea74cf0-023b-4086-96b5-c11f6770f13d" providerId="ADAL" clId="{E8C80F40-9485-4335-83C6-9B272BE180E2}" dt="2020-11-05T16:28:23.586" v="108" actId="2696"/>
        <pc:sldMkLst>
          <pc:docMk/>
          <pc:sldMk cId="4115118979" sldId="20791"/>
        </pc:sldMkLst>
      </pc:sldChg>
      <pc:sldChg chg="del">
        <pc:chgData name="Centurione, Vittorio" userId="4ea74cf0-023b-4086-96b5-c11f6770f13d" providerId="ADAL" clId="{E8C80F40-9485-4335-83C6-9B272BE180E2}" dt="2020-11-05T16:28:23.599" v="109" actId="2696"/>
        <pc:sldMkLst>
          <pc:docMk/>
          <pc:sldMk cId="4059283195" sldId="20792"/>
        </pc:sldMkLst>
      </pc:sldChg>
      <pc:sldChg chg="del">
        <pc:chgData name="Centurione, Vittorio" userId="4ea74cf0-023b-4086-96b5-c11f6770f13d" providerId="ADAL" clId="{E8C80F40-9485-4335-83C6-9B272BE180E2}" dt="2020-11-05T16:28:23.616" v="110" actId="2696"/>
        <pc:sldMkLst>
          <pc:docMk/>
          <pc:sldMk cId="3219271922" sldId="20793"/>
        </pc:sldMkLst>
      </pc:sldChg>
      <pc:sldChg chg="del">
        <pc:chgData name="Centurione, Vittorio" userId="4ea74cf0-023b-4086-96b5-c11f6770f13d" providerId="ADAL" clId="{E8C80F40-9485-4335-83C6-9B272BE180E2}" dt="2020-11-05T16:28:23.630" v="111" actId="2696"/>
        <pc:sldMkLst>
          <pc:docMk/>
          <pc:sldMk cId="2473567123" sldId="20794"/>
        </pc:sldMkLst>
      </pc:sldChg>
      <pc:sldChg chg="del">
        <pc:chgData name="Centurione, Vittorio" userId="4ea74cf0-023b-4086-96b5-c11f6770f13d" providerId="ADAL" clId="{E8C80F40-9485-4335-83C6-9B272BE180E2}" dt="2020-11-05T16:28:23.646" v="112" actId="2696"/>
        <pc:sldMkLst>
          <pc:docMk/>
          <pc:sldMk cId="768408681" sldId="20795"/>
        </pc:sldMkLst>
      </pc:sldChg>
      <pc:sldChg chg="del">
        <pc:chgData name="Centurione, Vittorio" userId="4ea74cf0-023b-4086-96b5-c11f6770f13d" providerId="ADAL" clId="{E8C80F40-9485-4335-83C6-9B272BE180E2}" dt="2020-11-05T16:28:23.663" v="113" actId="2696"/>
        <pc:sldMkLst>
          <pc:docMk/>
          <pc:sldMk cId="2033369761" sldId="20796"/>
        </pc:sldMkLst>
      </pc:sldChg>
      <pc:sldChg chg="del">
        <pc:chgData name="Centurione, Vittorio" userId="4ea74cf0-023b-4086-96b5-c11f6770f13d" providerId="ADAL" clId="{E8C80F40-9485-4335-83C6-9B272BE180E2}" dt="2020-11-05T16:28:23.676" v="114" actId="2696"/>
        <pc:sldMkLst>
          <pc:docMk/>
          <pc:sldMk cId="3746267678" sldId="20797"/>
        </pc:sldMkLst>
      </pc:sldChg>
      <pc:sldChg chg="del">
        <pc:chgData name="Centurione, Vittorio" userId="4ea74cf0-023b-4086-96b5-c11f6770f13d" providerId="ADAL" clId="{E8C80F40-9485-4335-83C6-9B272BE180E2}" dt="2020-11-05T16:28:23.687" v="115" actId="2696"/>
        <pc:sldMkLst>
          <pc:docMk/>
          <pc:sldMk cId="1213660634" sldId="20798"/>
        </pc:sldMkLst>
      </pc:sldChg>
      <pc:sldChg chg="del">
        <pc:chgData name="Centurione, Vittorio" userId="4ea74cf0-023b-4086-96b5-c11f6770f13d" providerId="ADAL" clId="{E8C80F40-9485-4335-83C6-9B272BE180E2}" dt="2020-11-05T16:28:23.703" v="116" actId="2696"/>
        <pc:sldMkLst>
          <pc:docMk/>
          <pc:sldMk cId="4163061097" sldId="20799"/>
        </pc:sldMkLst>
      </pc:sldChg>
      <pc:sldChg chg="del">
        <pc:chgData name="Centurione, Vittorio" userId="4ea74cf0-023b-4086-96b5-c11f6770f13d" providerId="ADAL" clId="{E8C80F40-9485-4335-83C6-9B272BE180E2}" dt="2020-11-05T16:28:23.716" v="117" actId="2696"/>
        <pc:sldMkLst>
          <pc:docMk/>
          <pc:sldMk cId="340862737" sldId="20800"/>
        </pc:sldMkLst>
      </pc:sldChg>
      <pc:sldChg chg="del">
        <pc:chgData name="Centurione, Vittorio" userId="4ea74cf0-023b-4086-96b5-c11f6770f13d" providerId="ADAL" clId="{E8C80F40-9485-4335-83C6-9B272BE180E2}" dt="2020-11-05T16:28:23.734" v="118" actId="2696"/>
        <pc:sldMkLst>
          <pc:docMk/>
          <pc:sldMk cId="2239249798" sldId="20801"/>
        </pc:sldMkLst>
      </pc:sldChg>
      <pc:sldChg chg="del">
        <pc:chgData name="Centurione, Vittorio" userId="4ea74cf0-023b-4086-96b5-c11f6770f13d" providerId="ADAL" clId="{E8C80F40-9485-4335-83C6-9B272BE180E2}" dt="2020-11-05T16:28:23.748" v="119" actId="2696"/>
        <pc:sldMkLst>
          <pc:docMk/>
          <pc:sldMk cId="2463339342" sldId="20802"/>
        </pc:sldMkLst>
      </pc:sldChg>
      <pc:sldChg chg="del">
        <pc:chgData name="Centurione, Vittorio" userId="4ea74cf0-023b-4086-96b5-c11f6770f13d" providerId="ADAL" clId="{E8C80F40-9485-4335-83C6-9B272BE180E2}" dt="2020-11-05T16:28:23.765" v="120" actId="2696"/>
        <pc:sldMkLst>
          <pc:docMk/>
          <pc:sldMk cId="3051961634" sldId="20803"/>
        </pc:sldMkLst>
      </pc:sldChg>
      <pc:sldChg chg="del">
        <pc:chgData name="Centurione, Vittorio" userId="4ea74cf0-023b-4086-96b5-c11f6770f13d" providerId="ADAL" clId="{E8C80F40-9485-4335-83C6-9B272BE180E2}" dt="2020-11-05T16:28:23.783" v="121" actId="2696"/>
        <pc:sldMkLst>
          <pc:docMk/>
          <pc:sldMk cId="701334003" sldId="20804"/>
        </pc:sldMkLst>
      </pc:sldChg>
      <pc:sldChg chg="del">
        <pc:chgData name="Centurione, Vittorio" userId="4ea74cf0-023b-4086-96b5-c11f6770f13d" providerId="ADAL" clId="{E8C80F40-9485-4335-83C6-9B272BE180E2}" dt="2020-11-05T16:28:23.796" v="122" actId="2696"/>
        <pc:sldMkLst>
          <pc:docMk/>
          <pc:sldMk cId="747721939" sldId="20805"/>
        </pc:sldMkLst>
      </pc:sldChg>
      <pc:sldChg chg="del">
        <pc:chgData name="Centurione, Vittorio" userId="4ea74cf0-023b-4086-96b5-c11f6770f13d" providerId="ADAL" clId="{E8C80F40-9485-4335-83C6-9B272BE180E2}" dt="2020-11-05T16:28:23.813" v="123" actId="2696"/>
        <pc:sldMkLst>
          <pc:docMk/>
          <pc:sldMk cId="1755344133" sldId="20806"/>
        </pc:sldMkLst>
      </pc:sldChg>
      <pc:sldChg chg="del">
        <pc:chgData name="Centurione, Vittorio" userId="4ea74cf0-023b-4086-96b5-c11f6770f13d" providerId="ADAL" clId="{E8C80F40-9485-4335-83C6-9B272BE180E2}" dt="2020-11-05T16:28:23.833" v="124" actId="2696"/>
        <pc:sldMkLst>
          <pc:docMk/>
          <pc:sldMk cId="3205827976" sldId="20807"/>
        </pc:sldMkLst>
      </pc:sldChg>
      <pc:sldChg chg="del">
        <pc:chgData name="Centurione, Vittorio" userId="4ea74cf0-023b-4086-96b5-c11f6770f13d" providerId="ADAL" clId="{E8C80F40-9485-4335-83C6-9B272BE180E2}" dt="2020-11-05T16:28:23.847" v="125" actId="2696"/>
        <pc:sldMkLst>
          <pc:docMk/>
          <pc:sldMk cId="4285957934" sldId="20808"/>
        </pc:sldMkLst>
      </pc:sldChg>
      <pc:sldChg chg="del">
        <pc:chgData name="Centurione, Vittorio" userId="4ea74cf0-023b-4086-96b5-c11f6770f13d" providerId="ADAL" clId="{E8C80F40-9485-4335-83C6-9B272BE180E2}" dt="2020-11-05T16:28:23.865" v="126" actId="2696"/>
        <pc:sldMkLst>
          <pc:docMk/>
          <pc:sldMk cId="2401234013" sldId="20809"/>
        </pc:sldMkLst>
      </pc:sldChg>
      <pc:sldChg chg="del">
        <pc:chgData name="Centurione, Vittorio" userId="4ea74cf0-023b-4086-96b5-c11f6770f13d" providerId="ADAL" clId="{E8C80F40-9485-4335-83C6-9B272BE180E2}" dt="2020-11-05T16:28:23.890" v="128" actId="2696"/>
        <pc:sldMkLst>
          <pc:docMk/>
          <pc:sldMk cId="1231222697" sldId="20811"/>
        </pc:sldMkLst>
      </pc:sldChg>
      <pc:sldChg chg="del">
        <pc:chgData name="Centurione, Vittorio" userId="4ea74cf0-023b-4086-96b5-c11f6770f13d" providerId="ADAL" clId="{E8C80F40-9485-4335-83C6-9B272BE180E2}" dt="2020-11-05T16:28:23.901" v="129" actId="2696"/>
        <pc:sldMkLst>
          <pc:docMk/>
          <pc:sldMk cId="2883013317" sldId="20812"/>
        </pc:sldMkLst>
      </pc:sldChg>
      <pc:sldChg chg="del">
        <pc:chgData name="Centurione, Vittorio" userId="4ea74cf0-023b-4086-96b5-c11f6770f13d" providerId="ADAL" clId="{E8C80F40-9485-4335-83C6-9B272BE180E2}" dt="2020-11-05T16:28:23.915" v="130" actId="2696"/>
        <pc:sldMkLst>
          <pc:docMk/>
          <pc:sldMk cId="2956163640" sldId="20813"/>
        </pc:sldMkLst>
      </pc:sldChg>
      <pc:sldChg chg="del">
        <pc:chgData name="Centurione, Vittorio" userId="4ea74cf0-023b-4086-96b5-c11f6770f13d" providerId="ADAL" clId="{E8C80F40-9485-4335-83C6-9B272BE180E2}" dt="2020-11-05T16:28:23.928" v="131" actId="2696"/>
        <pc:sldMkLst>
          <pc:docMk/>
          <pc:sldMk cId="3841579941" sldId="20814"/>
        </pc:sldMkLst>
      </pc:sldChg>
      <pc:sldChg chg="del">
        <pc:chgData name="Centurione, Vittorio" userId="4ea74cf0-023b-4086-96b5-c11f6770f13d" providerId="ADAL" clId="{E8C80F40-9485-4335-83C6-9B272BE180E2}" dt="2020-11-05T16:28:23.945" v="132" actId="2696"/>
        <pc:sldMkLst>
          <pc:docMk/>
          <pc:sldMk cId="2677276028" sldId="20815"/>
        </pc:sldMkLst>
      </pc:sldChg>
      <pc:sldChg chg="del">
        <pc:chgData name="Centurione, Vittorio" userId="4ea74cf0-023b-4086-96b5-c11f6770f13d" providerId="ADAL" clId="{E8C80F40-9485-4335-83C6-9B272BE180E2}" dt="2020-11-05T16:28:23.956" v="133" actId="2696"/>
        <pc:sldMkLst>
          <pc:docMk/>
          <pc:sldMk cId="2426497990" sldId="20816"/>
        </pc:sldMkLst>
      </pc:sldChg>
      <pc:sldChg chg="del">
        <pc:chgData name="Centurione, Vittorio" userId="4ea74cf0-023b-4086-96b5-c11f6770f13d" providerId="ADAL" clId="{E8C80F40-9485-4335-83C6-9B272BE180E2}" dt="2020-11-05T16:28:23.968" v="134" actId="2696"/>
        <pc:sldMkLst>
          <pc:docMk/>
          <pc:sldMk cId="1917520033" sldId="20817"/>
        </pc:sldMkLst>
      </pc:sldChg>
      <pc:sldChg chg="del">
        <pc:chgData name="Centurione, Vittorio" userId="4ea74cf0-023b-4086-96b5-c11f6770f13d" providerId="ADAL" clId="{E8C80F40-9485-4335-83C6-9B272BE180E2}" dt="2020-11-05T16:28:23.983" v="135" actId="2696"/>
        <pc:sldMkLst>
          <pc:docMk/>
          <pc:sldMk cId="2999965296" sldId="20818"/>
        </pc:sldMkLst>
      </pc:sldChg>
      <pc:sldChg chg="del">
        <pc:chgData name="Centurione, Vittorio" userId="4ea74cf0-023b-4086-96b5-c11f6770f13d" providerId="ADAL" clId="{E8C80F40-9485-4335-83C6-9B272BE180E2}" dt="2020-11-05T16:28:22.824" v="60" actId="2696"/>
        <pc:sldMkLst>
          <pc:docMk/>
          <pc:sldMk cId="3774529116" sldId="20819"/>
        </pc:sldMkLst>
      </pc:sldChg>
      <pc:sldChg chg="del">
        <pc:chgData name="Centurione, Vittorio" userId="4ea74cf0-023b-4086-96b5-c11f6770f13d" providerId="ADAL" clId="{E8C80F40-9485-4335-83C6-9B272BE180E2}" dt="2020-11-05T16:28:22.847" v="61" actId="2696"/>
        <pc:sldMkLst>
          <pc:docMk/>
          <pc:sldMk cId="4237385927" sldId="20820"/>
        </pc:sldMkLst>
      </pc:sldChg>
      <pc:sldChg chg="del">
        <pc:chgData name="Centurione, Vittorio" userId="4ea74cf0-023b-4086-96b5-c11f6770f13d" providerId="ADAL" clId="{E8C80F40-9485-4335-83C6-9B272BE180E2}" dt="2020-11-05T16:28:22.877" v="62" actId="2696"/>
        <pc:sldMkLst>
          <pc:docMk/>
          <pc:sldMk cId="2770201942" sldId="20821"/>
        </pc:sldMkLst>
      </pc:sldChg>
      <pc:sldChg chg="del">
        <pc:chgData name="Centurione, Vittorio" userId="4ea74cf0-023b-4086-96b5-c11f6770f13d" providerId="ADAL" clId="{E8C80F40-9485-4335-83C6-9B272BE180E2}" dt="2020-11-05T16:28:22.919" v="63" actId="2696"/>
        <pc:sldMkLst>
          <pc:docMk/>
          <pc:sldMk cId="3340968511" sldId="20822"/>
        </pc:sldMkLst>
      </pc:sldChg>
      <pc:sldChg chg="del">
        <pc:chgData name="Centurione, Vittorio" userId="4ea74cf0-023b-4086-96b5-c11f6770f13d" providerId="ADAL" clId="{E8C80F40-9485-4335-83C6-9B272BE180E2}" dt="2020-11-05T16:28:22.962" v="64" actId="2696"/>
        <pc:sldMkLst>
          <pc:docMk/>
          <pc:sldMk cId="87923069" sldId="20823"/>
        </pc:sldMkLst>
      </pc:sldChg>
      <pc:sldChg chg="del">
        <pc:chgData name="Centurione, Vittorio" userId="4ea74cf0-023b-4086-96b5-c11f6770f13d" providerId="ADAL" clId="{E8C80F40-9485-4335-83C6-9B272BE180E2}" dt="2020-11-05T16:28:22.987" v="65" actId="2696"/>
        <pc:sldMkLst>
          <pc:docMk/>
          <pc:sldMk cId="3716434786" sldId="20824"/>
        </pc:sldMkLst>
      </pc:sldChg>
      <pc:sldChg chg="del">
        <pc:chgData name="Centurione, Vittorio" userId="4ea74cf0-023b-4086-96b5-c11f6770f13d" providerId="ADAL" clId="{E8C80F40-9485-4335-83C6-9B272BE180E2}" dt="2020-11-05T16:28:23.148" v="94" actId="2696"/>
        <pc:sldMkLst>
          <pc:docMk/>
          <pc:sldMk cId="367713742" sldId="20825"/>
        </pc:sldMkLst>
      </pc:sldChg>
      <pc:sldChg chg="del">
        <pc:chgData name="Centurione, Vittorio" userId="4ea74cf0-023b-4086-96b5-c11f6770f13d" providerId="ADAL" clId="{E8C80F40-9485-4335-83C6-9B272BE180E2}" dt="2020-11-05T16:28:23.168" v="95" actId="2696"/>
        <pc:sldMkLst>
          <pc:docMk/>
          <pc:sldMk cId="2138750922" sldId="20826"/>
        </pc:sldMkLst>
      </pc:sldChg>
      <pc:sldChg chg="del">
        <pc:chgData name="Centurione, Vittorio" userId="4ea74cf0-023b-4086-96b5-c11f6770f13d" providerId="ADAL" clId="{E8C80F40-9485-4335-83C6-9B272BE180E2}" dt="2020-11-05T16:28:24.439" v="147" actId="2696"/>
        <pc:sldMkLst>
          <pc:docMk/>
          <pc:sldMk cId="1357749320" sldId="20827"/>
        </pc:sldMkLst>
      </pc:sldChg>
      <pc:sldChg chg="del">
        <pc:chgData name="Centurione, Vittorio" userId="4ea74cf0-023b-4086-96b5-c11f6770f13d" providerId="ADAL" clId="{E8C80F40-9485-4335-83C6-9B272BE180E2}" dt="2020-11-05T16:28:23.879" v="127" actId="2696"/>
        <pc:sldMkLst>
          <pc:docMk/>
          <pc:sldMk cId="3885039372" sldId="20828"/>
        </pc:sldMkLst>
      </pc:sldChg>
      <pc:sldChg chg="del">
        <pc:chgData name="Centurione, Vittorio" userId="4ea74cf0-023b-4086-96b5-c11f6770f13d" providerId="ADAL" clId="{E8C80F40-9485-4335-83C6-9B272BE180E2}" dt="2020-11-05T16:28:24.410" v="145" actId="2696"/>
        <pc:sldMkLst>
          <pc:docMk/>
          <pc:sldMk cId="770097622" sldId="20829"/>
        </pc:sldMkLst>
      </pc:sldChg>
      <pc:sldChg chg="delSp modSp del">
        <pc:chgData name="Centurione, Vittorio" userId="4ea74cf0-023b-4086-96b5-c11f6770f13d" providerId="ADAL" clId="{E8C80F40-9485-4335-83C6-9B272BE180E2}" dt="2020-11-05T16:38:01.162" v="353" actId="2696"/>
        <pc:sldMkLst>
          <pc:docMk/>
          <pc:sldMk cId="2601167503" sldId="20830"/>
        </pc:sldMkLst>
        <pc:spChg chg="mod">
          <ac:chgData name="Centurione, Vittorio" userId="4ea74cf0-023b-4086-96b5-c11f6770f13d" providerId="ADAL" clId="{E8C80F40-9485-4335-83C6-9B272BE180E2}" dt="2020-11-05T16:37:04.709" v="327" actId="20577"/>
          <ac:spMkLst>
            <pc:docMk/>
            <pc:sldMk cId="2601167503" sldId="20830"/>
            <ac:spMk id="24" creationId="{B09E3917-3D86-42FA-977E-6CF5A6B665F5}"/>
          </ac:spMkLst>
        </pc:spChg>
        <pc:spChg chg="del">
          <ac:chgData name="Centurione, Vittorio" userId="4ea74cf0-023b-4086-96b5-c11f6770f13d" providerId="ADAL" clId="{E8C80F40-9485-4335-83C6-9B272BE180E2}" dt="2020-11-05T16:27:50.278" v="46" actId="478"/>
          <ac:spMkLst>
            <pc:docMk/>
            <pc:sldMk cId="2601167503" sldId="20830"/>
            <ac:spMk id="31" creationId="{BAAC2B35-E04A-4724-85F2-689A889FCC5C}"/>
          </ac:spMkLst>
        </pc:spChg>
        <pc:spChg chg="del">
          <ac:chgData name="Centurione, Vittorio" userId="4ea74cf0-023b-4086-96b5-c11f6770f13d" providerId="ADAL" clId="{E8C80F40-9485-4335-83C6-9B272BE180E2}" dt="2020-11-05T16:27:50.278" v="46" actId="478"/>
          <ac:spMkLst>
            <pc:docMk/>
            <pc:sldMk cId="2601167503" sldId="20830"/>
            <ac:spMk id="32" creationId="{64348E12-03DB-44DF-9267-CC1429065D4C}"/>
          </ac:spMkLst>
        </pc:spChg>
        <pc:spChg chg="del">
          <ac:chgData name="Centurione, Vittorio" userId="4ea74cf0-023b-4086-96b5-c11f6770f13d" providerId="ADAL" clId="{E8C80F40-9485-4335-83C6-9B272BE180E2}" dt="2020-11-05T16:27:50.278" v="46" actId="478"/>
          <ac:spMkLst>
            <pc:docMk/>
            <pc:sldMk cId="2601167503" sldId="20830"/>
            <ac:spMk id="33" creationId="{208F28BD-536B-4511-A2F7-7987AC31F3F1}"/>
          </ac:spMkLst>
        </pc:spChg>
        <pc:spChg chg="del">
          <ac:chgData name="Centurione, Vittorio" userId="4ea74cf0-023b-4086-96b5-c11f6770f13d" providerId="ADAL" clId="{E8C80F40-9485-4335-83C6-9B272BE180E2}" dt="2020-11-05T16:27:50.278" v="46" actId="478"/>
          <ac:spMkLst>
            <pc:docMk/>
            <pc:sldMk cId="2601167503" sldId="20830"/>
            <ac:spMk id="34" creationId="{283CB314-D135-4570-9489-18A6071324DE}"/>
          </ac:spMkLst>
        </pc:spChg>
        <pc:spChg chg="del">
          <ac:chgData name="Centurione, Vittorio" userId="4ea74cf0-023b-4086-96b5-c11f6770f13d" providerId="ADAL" clId="{E8C80F40-9485-4335-83C6-9B272BE180E2}" dt="2020-11-05T16:27:50.278" v="46" actId="478"/>
          <ac:spMkLst>
            <pc:docMk/>
            <pc:sldMk cId="2601167503" sldId="20830"/>
            <ac:spMk id="36" creationId="{B5252A58-9BD7-4519-855F-427293BB47DE}"/>
          </ac:spMkLst>
        </pc:spChg>
        <pc:spChg chg="del">
          <ac:chgData name="Centurione, Vittorio" userId="4ea74cf0-023b-4086-96b5-c11f6770f13d" providerId="ADAL" clId="{E8C80F40-9485-4335-83C6-9B272BE180E2}" dt="2020-11-05T16:27:50.278" v="46" actId="478"/>
          <ac:spMkLst>
            <pc:docMk/>
            <pc:sldMk cId="2601167503" sldId="20830"/>
            <ac:spMk id="37" creationId="{58C52842-20E4-4952-9CE4-A90AB382BC76}"/>
          </ac:spMkLst>
        </pc:spChg>
        <pc:spChg chg="del">
          <ac:chgData name="Centurione, Vittorio" userId="4ea74cf0-023b-4086-96b5-c11f6770f13d" providerId="ADAL" clId="{E8C80F40-9485-4335-83C6-9B272BE180E2}" dt="2020-11-05T16:27:50.278" v="46" actId="478"/>
          <ac:spMkLst>
            <pc:docMk/>
            <pc:sldMk cId="2601167503" sldId="20830"/>
            <ac:spMk id="38" creationId="{867F0E1C-31BD-422A-8011-65323049DBB0}"/>
          </ac:spMkLst>
        </pc:spChg>
        <pc:spChg chg="del">
          <ac:chgData name="Centurione, Vittorio" userId="4ea74cf0-023b-4086-96b5-c11f6770f13d" providerId="ADAL" clId="{E8C80F40-9485-4335-83C6-9B272BE180E2}" dt="2020-11-05T16:27:50.278" v="46" actId="478"/>
          <ac:spMkLst>
            <pc:docMk/>
            <pc:sldMk cId="2601167503" sldId="20830"/>
            <ac:spMk id="39" creationId="{AA344CA1-15FF-4C77-86AE-4CA84AA85A26}"/>
          </ac:spMkLst>
        </pc:spChg>
        <pc:spChg chg="del">
          <ac:chgData name="Centurione, Vittorio" userId="4ea74cf0-023b-4086-96b5-c11f6770f13d" providerId="ADAL" clId="{E8C80F40-9485-4335-83C6-9B272BE180E2}" dt="2020-11-05T16:27:50.278" v="46" actId="478"/>
          <ac:spMkLst>
            <pc:docMk/>
            <pc:sldMk cId="2601167503" sldId="20830"/>
            <ac:spMk id="40" creationId="{608EE13B-F37A-4C2F-9CFE-D78BCA3ABA51}"/>
          </ac:spMkLst>
        </pc:spChg>
        <pc:spChg chg="del">
          <ac:chgData name="Centurione, Vittorio" userId="4ea74cf0-023b-4086-96b5-c11f6770f13d" providerId="ADAL" clId="{E8C80F40-9485-4335-83C6-9B272BE180E2}" dt="2020-11-05T16:27:50.278" v="46" actId="478"/>
          <ac:spMkLst>
            <pc:docMk/>
            <pc:sldMk cId="2601167503" sldId="20830"/>
            <ac:spMk id="41" creationId="{F5554842-A160-4B87-8964-68B02E89D7A3}"/>
          </ac:spMkLst>
        </pc:spChg>
        <pc:spChg chg="del">
          <ac:chgData name="Centurione, Vittorio" userId="4ea74cf0-023b-4086-96b5-c11f6770f13d" providerId="ADAL" clId="{E8C80F40-9485-4335-83C6-9B272BE180E2}" dt="2020-11-05T16:27:50.278" v="46" actId="478"/>
          <ac:spMkLst>
            <pc:docMk/>
            <pc:sldMk cId="2601167503" sldId="20830"/>
            <ac:spMk id="43" creationId="{4DAEC9BA-1A32-47AE-BEB2-E073341F913B}"/>
          </ac:spMkLst>
        </pc:spChg>
        <pc:spChg chg="del">
          <ac:chgData name="Centurione, Vittorio" userId="4ea74cf0-023b-4086-96b5-c11f6770f13d" providerId="ADAL" clId="{E8C80F40-9485-4335-83C6-9B272BE180E2}" dt="2020-11-05T16:27:50.278" v="46" actId="478"/>
          <ac:spMkLst>
            <pc:docMk/>
            <pc:sldMk cId="2601167503" sldId="20830"/>
            <ac:spMk id="44" creationId="{9C8AC9C0-4466-41B7-98F2-677A9D15C56D}"/>
          </ac:spMkLst>
        </pc:spChg>
        <pc:spChg chg="del">
          <ac:chgData name="Centurione, Vittorio" userId="4ea74cf0-023b-4086-96b5-c11f6770f13d" providerId="ADAL" clId="{E8C80F40-9485-4335-83C6-9B272BE180E2}" dt="2020-11-05T16:27:50.278" v="46" actId="478"/>
          <ac:spMkLst>
            <pc:docMk/>
            <pc:sldMk cId="2601167503" sldId="20830"/>
            <ac:spMk id="45" creationId="{B6660100-30AF-4E1E-930D-D71F634EEAEC}"/>
          </ac:spMkLst>
        </pc:spChg>
        <pc:spChg chg="del">
          <ac:chgData name="Centurione, Vittorio" userId="4ea74cf0-023b-4086-96b5-c11f6770f13d" providerId="ADAL" clId="{E8C80F40-9485-4335-83C6-9B272BE180E2}" dt="2020-11-05T16:27:50.278" v="46" actId="478"/>
          <ac:spMkLst>
            <pc:docMk/>
            <pc:sldMk cId="2601167503" sldId="20830"/>
            <ac:spMk id="47" creationId="{A720E5FB-E095-4F10-803C-02F133BC9866}"/>
          </ac:spMkLst>
        </pc:spChg>
        <pc:spChg chg="del">
          <ac:chgData name="Centurione, Vittorio" userId="4ea74cf0-023b-4086-96b5-c11f6770f13d" providerId="ADAL" clId="{E8C80F40-9485-4335-83C6-9B272BE180E2}" dt="2020-11-05T16:27:50.278" v="46" actId="478"/>
          <ac:spMkLst>
            <pc:docMk/>
            <pc:sldMk cId="2601167503" sldId="20830"/>
            <ac:spMk id="48" creationId="{D3BC0D38-04AE-40E8-9F2E-B3C44F06A7B8}"/>
          </ac:spMkLst>
        </pc:spChg>
        <pc:spChg chg="del">
          <ac:chgData name="Centurione, Vittorio" userId="4ea74cf0-023b-4086-96b5-c11f6770f13d" providerId="ADAL" clId="{E8C80F40-9485-4335-83C6-9B272BE180E2}" dt="2020-11-05T16:27:50.278" v="46" actId="478"/>
          <ac:spMkLst>
            <pc:docMk/>
            <pc:sldMk cId="2601167503" sldId="20830"/>
            <ac:spMk id="49" creationId="{807F6D9B-6103-4D37-BB44-34A9F5B96BDA}"/>
          </ac:spMkLst>
        </pc:spChg>
        <pc:spChg chg="del">
          <ac:chgData name="Centurione, Vittorio" userId="4ea74cf0-023b-4086-96b5-c11f6770f13d" providerId="ADAL" clId="{E8C80F40-9485-4335-83C6-9B272BE180E2}" dt="2020-11-05T16:27:50.278" v="46" actId="478"/>
          <ac:spMkLst>
            <pc:docMk/>
            <pc:sldMk cId="2601167503" sldId="20830"/>
            <ac:spMk id="50" creationId="{A6A1BBE7-8877-4A2B-8765-532B8314D6C5}"/>
          </ac:spMkLst>
        </pc:spChg>
        <pc:spChg chg="del">
          <ac:chgData name="Centurione, Vittorio" userId="4ea74cf0-023b-4086-96b5-c11f6770f13d" providerId="ADAL" clId="{E8C80F40-9485-4335-83C6-9B272BE180E2}" dt="2020-11-05T16:27:50.278" v="46" actId="478"/>
          <ac:spMkLst>
            <pc:docMk/>
            <pc:sldMk cId="2601167503" sldId="20830"/>
            <ac:spMk id="51" creationId="{4EB7E18D-852C-4FD2-ACB6-B7DCA27E8563}"/>
          </ac:spMkLst>
        </pc:spChg>
        <pc:spChg chg="del">
          <ac:chgData name="Centurione, Vittorio" userId="4ea74cf0-023b-4086-96b5-c11f6770f13d" providerId="ADAL" clId="{E8C80F40-9485-4335-83C6-9B272BE180E2}" dt="2020-11-05T16:27:50.278" v="46" actId="478"/>
          <ac:spMkLst>
            <pc:docMk/>
            <pc:sldMk cId="2601167503" sldId="20830"/>
            <ac:spMk id="52" creationId="{663317E0-9CC2-46D2-8A17-185217213EC2}"/>
          </ac:spMkLst>
        </pc:spChg>
        <pc:spChg chg="del">
          <ac:chgData name="Centurione, Vittorio" userId="4ea74cf0-023b-4086-96b5-c11f6770f13d" providerId="ADAL" clId="{E8C80F40-9485-4335-83C6-9B272BE180E2}" dt="2020-11-05T16:27:50.278" v="46" actId="478"/>
          <ac:spMkLst>
            <pc:docMk/>
            <pc:sldMk cId="2601167503" sldId="20830"/>
            <ac:spMk id="53" creationId="{CB5D4AF4-E1BF-4507-8BDE-DDE8D7D1DDB2}"/>
          </ac:spMkLst>
        </pc:spChg>
        <pc:spChg chg="del">
          <ac:chgData name="Centurione, Vittorio" userId="4ea74cf0-023b-4086-96b5-c11f6770f13d" providerId="ADAL" clId="{E8C80F40-9485-4335-83C6-9B272BE180E2}" dt="2020-11-05T16:27:50.278" v="46" actId="478"/>
          <ac:spMkLst>
            <pc:docMk/>
            <pc:sldMk cId="2601167503" sldId="20830"/>
            <ac:spMk id="54" creationId="{A8CEBAA0-57A1-498B-AF31-CAE5B2496CCA}"/>
          </ac:spMkLst>
        </pc:spChg>
        <pc:spChg chg="del">
          <ac:chgData name="Centurione, Vittorio" userId="4ea74cf0-023b-4086-96b5-c11f6770f13d" providerId="ADAL" clId="{E8C80F40-9485-4335-83C6-9B272BE180E2}" dt="2020-11-05T16:27:50.278" v="46" actId="478"/>
          <ac:spMkLst>
            <pc:docMk/>
            <pc:sldMk cId="2601167503" sldId="20830"/>
            <ac:spMk id="55" creationId="{4D4ACF8D-F489-47D3-B47A-73F94CBBB46F}"/>
          </ac:spMkLst>
        </pc:spChg>
        <pc:spChg chg="del">
          <ac:chgData name="Centurione, Vittorio" userId="4ea74cf0-023b-4086-96b5-c11f6770f13d" providerId="ADAL" clId="{E8C80F40-9485-4335-83C6-9B272BE180E2}" dt="2020-11-05T16:27:50.278" v="46" actId="478"/>
          <ac:spMkLst>
            <pc:docMk/>
            <pc:sldMk cId="2601167503" sldId="20830"/>
            <ac:spMk id="56" creationId="{6D0592F7-1E96-4DF1-8AD5-4B0E6331F74E}"/>
          </ac:spMkLst>
        </pc:spChg>
        <pc:spChg chg="del">
          <ac:chgData name="Centurione, Vittorio" userId="4ea74cf0-023b-4086-96b5-c11f6770f13d" providerId="ADAL" clId="{E8C80F40-9485-4335-83C6-9B272BE180E2}" dt="2020-11-05T16:27:50.278" v="46" actId="478"/>
          <ac:spMkLst>
            <pc:docMk/>
            <pc:sldMk cId="2601167503" sldId="20830"/>
            <ac:spMk id="57" creationId="{D74B57BF-4061-48DF-AB22-E208D123C030}"/>
          </ac:spMkLst>
        </pc:spChg>
        <pc:spChg chg="del">
          <ac:chgData name="Centurione, Vittorio" userId="4ea74cf0-023b-4086-96b5-c11f6770f13d" providerId="ADAL" clId="{E8C80F40-9485-4335-83C6-9B272BE180E2}" dt="2020-11-05T16:27:50.278" v="46" actId="478"/>
          <ac:spMkLst>
            <pc:docMk/>
            <pc:sldMk cId="2601167503" sldId="20830"/>
            <ac:spMk id="58" creationId="{6814F91D-C815-4307-94A4-3DD569906592}"/>
          </ac:spMkLst>
        </pc:spChg>
        <pc:spChg chg="del">
          <ac:chgData name="Centurione, Vittorio" userId="4ea74cf0-023b-4086-96b5-c11f6770f13d" providerId="ADAL" clId="{E8C80F40-9485-4335-83C6-9B272BE180E2}" dt="2020-11-05T16:27:50.278" v="46" actId="478"/>
          <ac:spMkLst>
            <pc:docMk/>
            <pc:sldMk cId="2601167503" sldId="20830"/>
            <ac:spMk id="66" creationId="{EB9A5B4F-5E22-4333-8599-18F62B1E609E}"/>
          </ac:spMkLst>
        </pc:spChg>
        <pc:spChg chg="del">
          <ac:chgData name="Centurione, Vittorio" userId="4ea74cf0-023b-4086-96b5-c11f6770f13d" providerId="ADAL" clId="{E8C80F40-9485-4335-83C6-9B272BE180E2}" dt="2020-11-05T16:27:50.278" v="46" actId="478"/>
          <ac:spMkLst>
            <pc:docMk/>
            <pc:sldMk cId="2601167503" sldId="20830"/>
            <ac:spMk id="68" creationId="{592CA162-6EA8-40E0-AC3E-3B7398A3C140}"/>
          </ac:spMkLst>
        </pc:spChg>
        <pc:spChg chg="del">
          <ac:chgData name="Centurione, Vittorio" userId="4ea74cf0-023b-4086-96b5-c11f6770f13d" providerId="ADAL" clId="{E8C80F40-9485-4335-83C6-9B272BE180E2}" dt="2020-11-05T16:27:50.278" v="46" actId="478"/>
          <ac:spMkLst>
            <pc:docMk/>
            <pc:sldMk cId="2601167503" sldId="20830"/>
            <ac:spMk id="69" creationId="{894327D0-44C9-4DCE-89EA-744E1128BA55}"/>
          </ac:spMkLst>
        </pc:spChg>
        <pc:spChg chg="del">
          <ac:chgData name="Centurione, Vittorio" userId="4ea74cf0-023b-4086-96b5-c11f6770f13d" providerId="ADAL" clId="{E8C80F40-9485-4335-83C6-9B272BE180E2}" dt="2020-11-05T16:27:50.278" v="46" actId="478"/>
          <ac:spMkLst>
            <pc:docMk/>
            <pc:sldMk cId="2601167503" sldId="20830"/>
            <ac:spMk id="70" creationId="{FE9A2276-505C-4FC7-94BB-CB6B1C0DE444}"/>
          </ac:spMkLst>
        </pc:spChg>
        <pc:picChg chg="del">
          <ac:chgData name="Centurione, Vittorio" userId="4ea74cf0-023b-4086-96b5-c11f6770f13d" providerId="ADAL" clId="{E8C80F40-9485-4335-83C6-9B272BE180E2}" dt="2020-11-05T16:27:50.278" v="46" actId="478"/>
          <ac:picMkLst>
            <pc:docMk/>
            <pc:sldMk cId="2601167503" sldId="20830"/>
            <ac:picMk id="60" creationId="{27974DF8-0347-4DDA-888F-03AF4D94200B}"/>
          </ac:picMkLst>
        </pc:picChg>
        <pc:picChg chg="del">
          <ac:chgData name="Centurione, Vittorio" userId="4ea74cf0-023b-4086-96b5-c11f6770f13d" providerId="ADAL" clId="{E8C80F40-9485-4335-83C6-9B272BE180E2}" dt="2020-11-05T16:27:50.278" v="46" actId="478"/>
          <ac:picMkLst>
            <pc:docMk/>
            <pc:sldMk cId="2601167503" sldId="20830"/>
            <ac:picMk id="61" creationId="{5F548D8E-4095-4AF9-879C-2FE6E8B61F2B}"/>
          </ac:picMkLst>
        </pc:picChg>
        <pc:picChg chg="del">
          <ac:chgData name="Centurione, Vittorio" userId="4ea74cf0-023b-4086-96b5-c11f6770f13d" providerId="ADAL" clId="{E8C80F40-9485-4335-83C6-9B272BE180E2}" dt="2020-11-05T16:27:50.278" v="46" actId="478"/>
          <ac:picMkLst>
            <pc:docMk/>
            <pc:sldMk cId="2601167503" sldId="20830"/>
            <ac:picMk id="63" creationId="{1DB257F4-22DF-4799-81BE-EF0B01C13CD8}"/>
          </ac:picMkLst>
        </pc:picChg>
        <pc:picChg chg="del">
          <ac:chgData name="Centurione, Vittorio" userId="4ea74cf0-023b-4086-96b5-c11f6770f13d" providerId="ADAL" clId="{E8C80F40-9485-4335-83C6-9B272BE180E2}" dt="2020-11-05T16:27:50.278" v="46" actId="478"/>
          <ac:picMkLst>
            <pc:docMk/>
            <pc:sldMk cId="2601167503" sldId="20830"/>
            <ac:picMk id="64" creationId="{606353C4-6A54-4548-A4EE-09C5B183C131}"/>
          </ac:picMkLst>
        </pc:picChg>
        <pc:picChg chg="del">
          <ac:chgData name="Centurione, Vittorio" userId="4ea74cf0-023b-4086-96b5-c11f6770f13d" providerId="ADAL" clId="{E8C80F40-9485-4335-83C6-9B272BE180E2}" dt="2020-11-05T16:27:50.278" v="46" actId="478"/>
          <ac:picMkLst>
            <pc:docMk/>
            <pc:sldMk cId="2601167503" sldId="20830"/>
            <ac:picMk id="65" creationId="{CEB2A6D1-0AF4-4080-B1AA-69B78370C0E9}"/>
          </ac:picMkLst>
        </pc:picChg>
        <pc:picChg chg="del">
          <ac:chgData name="Centurione, Vittorio" userId="4ea74cf0-023b-4086-96b5-c11f6770f13d" providerId="ADAL" clId="{E8C80F40-9485-4335-83C6-9B272BE180E2}" dt="2020-11-05T16:27:50.278" v="46" actId="478"/>
          <ac:picMkLst>
            <pc:docMk/>
            <pc:sldMk cId="2601167503" sldId="20830"/>
            <ac:picMk id="67" creationId="{494D3C2D-07A0-4FA3-B3AB-686864A8DA92}"/>
          </ac:picMkLst>
        </pc:picChg>
        <pc:picChg chg="del">
          <ac:chgData name="Centurione, Vittorio" userId="4ea74cf0-023b-4086-96b5-c11f6770f13d" providerId="ADAL" clId="{E8C80F40-9485-4335-83C6-9B272BE180E2}" dt="2020-11-05T16:27:50.278" v="46" actId="478"/>
          <ac:picMkLst>
            <pc:docMk/>
            <pc:sldMk cId="2601167503" sldId="20830"/>
            <ac:picMk id="71" creationId="{7CC6D291-E14A-41DD-921D-3B4380CADE84}"/>
          </ac:picMkLst>
        </pc:picChg>
        <pc:picChg chg="del">
          <ac:chgData name="Centurione, Vittorio" userId="4ea74cf0-023b-4086-96b5-c11f6770f13d" providerId="ADAL" clId="{E8C80F40-9485-4335-83C6-9B272BE180E2}" dt="2020-11-05T16:27:50.278" v="46" actId="478"/>
          <ac:picMkLst>
            <pc:docMk/>
            <pc:sldMk cId="2601167503" sldId="20830"/>
            <ac:picMk id="72" creationId="{CBEA11E2-DF85-48A7-BEFC-0FDF7D9AF920}"/>
          </ac:picMkLst>
        </pc:picChg>
        <pc:cxnChg chg="del">
          <ac:chgData name="Centurione, Vittorio" userId="4ea74cf0-023b-4086-96b5-c11f6770f13d" providerId="ADAL" clId="{E8C80F40-9485-4335-83C6-9B272BE180E2}" dt="2020-11-05T16:27:50.278" v="46" actId="478"/>
          <ac:cxnSpMkLst>
            <pc:docMk/>
            <pc:sldMk cId="2601167503" sldId="20830"/>
            <ac:cxnSpMk id="26" creationId="{A3D8D062-B8D5-4BE1-BEBF-C086C82F7748}"/>
          </ac:cxnSpMkLst>
        </pc:cxnChg>
        <pc:cxnChg chg="del">
          <ac:chgData name="Centurione, Vittorio" userId="4ea74cf0-023b-4086-96b5-c11f6770f13d" providerId="ADAL" clId="{E8C80F40-9485-4335-83C6-9B272BE180E2}" dt="2020-11-05T16:27:50.278" v="46" actId="478"/>
          <ac:cxnSpMkLst>
            <pc:docMk/>
            <pc:sldMk cId="2601167503" sldId="20830"/>
            <ac:cxnSpMk id="29" creationId="{45425607-CE2B-4F39-95BF-93B22703C88A}"/>
          </ac:cxnSpMkLst>
        </pc:cxnChg>
        <pc:cxnChg chg="del">
          <ac:chgData name="Centurione, Vittorio" userId="4ea74cf0-023b-4086-96b5-c11f6770f13d" providerId="ADAL" clId="{E8C80F40-9485-4335-83C6-9B272BE180E2}" dt="2020-11-05T16:27:50.278" v="46" actId="478"/>
          <ac:cxnSpMkLst>
            <pc:docMk/>
            <pc:sldMk cId="2601167503" sldId="20830"/>
            <ac:cxnSpMk id="30" creationId="{3AA57649-C105-4D63-92FB-2F495E8FF7B5}"/>
          </ac:cxnSpMkLst>
        </pc:cxnChg>
      </pc:sldChg>
      <pc:sldChg chg="addSp delSp modSp add">
        <pc:chgData name="Centurione, Vittorio" userId="4ea74cf0-023b-4086-96b5-c11f6770f13d" providerId="ADAL" clId="{E8C80F40-9485-4335-83C6-9B272BE180E2}" dt="2020-11-06T14:07:32.127" v="394" actId="114"/>
        <pc:sldMkLst>
          <pc:docMk/>
          <pc:sldMk cId="1595622069" sldId="20831"/>
        </pc:sldMkLst>
        <pc:spChg chg="add mod">
          <ac:chgData name="Centurione, Vittorio" userId="4ea74cf0-023b-4086-96b5-c11f6770f13d" providerId="ADAL" clId="{E8C80F40-9485-4335-83C6-9B272BE180E2}" dt="2020-11-06T14:07:32.127" v="394" actId="114"/>
          <ac:spMkLst>
            <pc:docMk/>
            <pc:sldMk cId="1595622069" sldId="20831"/>
            <ac:spMk id="4" creationId="{81C21D28-E313-4DD0-BC27-1CC98153ED37}"/>
          </ac:spMkLst>
        </pc:spChg>
        <pc:spChg chg="del">
          <ac:chgData name="Centurione, Vittorio" userId="4ea74cf0-023b-4086-96b5-c11f6770f13d" providerId="ADAL" clId="{E8C80F40-9485-4335-83C6-9B272BE180E2}" dt="2020-11-06T14:07:16.333" v="367" actId="478"/>
          <ac:spMkLst>
            <pc:docMk/>
            <pc:sldMk cId="1595622069" sldId="20831"/>
            <ac:spMk id="24" creationId="{B09E3917-3D86-42FA-977E-6CF5A6B665F5}"/>
          </ac:spMkLst>
        </pc:spChg>
      </pc:sldChg>
      <pc:sldChg chg="del">
        <pc:chgData name="Centurione, Vittorio" userId="4ea74cf0-023b-4086-96b5-c11f6770f13d" providerId="ADAL" clId="{E8C80F40-9485-4335-83C6-9B272BE180E2}" dt="2020-11-05T16:28:24.252" v="141" actId="2696"/>
        <pc:sldMkLst>
          <pc:docMk/>
          <pc:sldMk cId="3928986494" sldId="20831"/>
        </pc:sldMkLst>
      </pc:sldChg>
      <pc:sldChg chg="addSp delSp modSp add ord">
        <pc:chgData name="Centurione, Vittorio" userId="4ea74cf0-023b-4086-96b5-c11f6770f13d" providerId="ADAL" clId="{E8C80F40-9485-4335-83C6-9B272BE180E2}" dt="2020-11-06T14:07:37.716" v="396" actId="114"/>
        <pc:sldMkLst>
          <pc:docMk/>
          <pc:sldMk cId="890566543" sldId="20832"/>
        </pc:sldMkLst>
        <pc:spChg chg="add mod">
          <ac:chgData name="Centurione, Vittorio" userId="4ea74cf0-023b-4086-96b5-c11f6770f13d" providerId="ADAL" clId="{E8C80F40-9485-4335-83C6-9B272BE180E2}" dt="2020-11-05T16:34:15.016" v="254" actId="1035"/>
          <ac:spMkLst>
            <pc:docMk/>
            <pc:sldMk cId="890566543" sldId="20832"/>
            <ac:spMk id="2" creationId="{3CC5C1B2-F9C5-4BE0-B316-D7473F4CBEE7}"/>
          </ac:spMkLst>
        </pc:spChg>
        <pc:spChg chg="add mod">
          <ac:chgData name="Centurione, Vittorio" userId="4ea74cf0-023b-4086-96b5-c11f6770f13d" providerId="ADAL" clId="{E8C80F40-9485-4335-83C6-9B272BE180E2}" dt="2020-11-05T16:34:15.016" v="254" actId="1035"/>
          <ac:spMkLst>
            <pc:docMk/>
            <pc:sldMk cId="890566543" sldId="20832"/>
            <ac:spMk id="5" creationId="{93EF6924-1207-45D5-B9B9-C9DD6336FDE7}"/>
          </ac:spMkLst>
        </pc:spChg>
        <pc:spChg chg="add mod">
          <ac:chgData name="Centurione, Vittorio" userId="4ea74cf0-023b-4086-96b5-c11f6770f13d" providerId="ADAL" clId="{E8C80F40-9485-4335-83C6-9B272BE180E2}" dt="2020-11-05T16:34:15.016" v="254" actId="1035"/>
          <ac:spMkLst>
            <pc:docMk/>
            <pc:sldMk cId="890566543" sldId="20832"/>
            <ac:spMk id="6" creationId="{108CEB1B-7CC3-46D7-AF7E-E481C18A6A3F}"/>
          </ac:spMkLst>
        </pc:spChg>
        <pc:spChg chg="add mod">
          <ac:chgData name="Centurione, Vittorio" userId="4ea74cf0-023b-4086-96b5-c11f6770f13d" providerId="ADAL" clId="{E8C80F40-9485-4335-83C6-9B272BE180E2}" dt="2020-11-05T16:34:15.016" v="254" actId="1035"/>
          <ac:spMkLst>
            <pc:docMk/>
            <pc:sldMk cId="890566543" sldId="20832"/>
            <ac:spMk id="7" creationId="{E90E8C09-101B-4FED-B231-8766CC8E7FEC}"/>
          </ac:spMkLst>
        </pc:spChg>
        <pc:spChg chg="add mod">
          <ac:chgData name="Centurione, Vittorio" userId="4ea74cf0-023b-4086-96b5-c11f6770f13d" providerId="ADAL" clId="{E8C80F40-9485-4335-83C6-9B272BE180E2}" dt="2020-11-05T16:34:15.016" v="254" actId="1035"/>
          <ac:spMkLst>
            <pc:docMk/>
            <pc:sldMk cId="890566543" sldId="20832"/>
            <ac:spMk id="8" creationId="{350D11FA-A7AD-449D-A6DE-8D0EB26F9F63}"/>
          </ac:spMkLst>
        </pc:spChg>
        <pc:spChg chg="add mod">
          <ac:chgData name="Centurione, Vittorio" userId="4ea74cf0-023b-4086-96b5-c11f6770f13d" providerId="ADAL" clId="{E8C80F40-9485-4335-83C6-9B272BE180E2}" dt="2020-11-05T16:33:42.382" v="238" actId="14100"/>
          <ac:spMkLst>
            <pc:docMk/>
            <pc:sldMk cId="890566543" sldId="20832"/>
            <ac:spMk id="9" creationId="{0899BEDC-A902-48D2-A249-9080B936C86B}"/>
          </ac:spMkLst>
        </pc:spChg>
        <pc:spChg chg="add mod">
          <ac:chgData name="Centurione, Vittorio" userId="4ea74cf0-023b-4086-96b5-c11f6770f13d" providerId="ADAL" clId="{E8C80F40-9485-4335-83C6-9B272BE180E2}" dt="2020-11-05T16:34:15.016" v="254" actId="1035"/>
          <ac:spMkLst>
            <pc:docMk/>
            <pc:sldMk cId="890566543" sldId="20832"/>
            <ac:spMk id="10" creationId="{10054D07-E46F-40D6-857C-A3D98918454A}"/>
          </ac:spMkLst>
        </pc:spChg>
        <pc:spChg chg="add del mod">
          <ac:chgData name="Centurione, Vittorio" userId="4ea74cf0-023b-4086-96b5-c11f6770f13d" providerId="ADAL" clId="{E8C80F40-9485-4335-83C6-9B272BE180E2}" dt="2020-11-05T16:33:16.977" v="213" actId="478"/>
          <ac:spMkLst>
            <pc:docMk/>
            <pc:sldMk cId="890566543" sldId="20832"/>
            <ac:spMk id="11" creationId="{85B003BD-B6AC-449D-8FD9-3F20D6071671}"/>
          </ac:spMkLst>
        </pc:spChg>
        <pc:spChg chg="add del mod">
          <ac:chgData name="Centurione, Vittorio" userId="4ea74cf0-023b-4086-96b5-c11f6770f13d" providerId="ADAL" clId="{E8C80F40-9485-4335-83C6-9B272BE180E2}" dt="2020-11-05T16:33:16.977" v="213" actId="478"/>
          <ac:spMkLst>
            <pc:docMk/>
            <pc:sldMk cId="890566543" sldId="20832"/>
            <ac:spMk id="12" creationId="{8EF05E1E-2CC3-463A-A8B3-8E4EC477F2A7}"/>
          </ac:spMkLst>
        </pc:spChg>
        <pc:spChg chg="add mod">
          <ac:chgData name="Centurione, Vittorio" userId="4ea74cf0-023b-4086-96b5-c11f6770f13d" providerId="ADAL" clId="{E8C80F40-9485-4335-83C6-9B272BE180E2}" dt="2020-11-05T16:33:48.446" v="239" actId="571"/>
          <ac:spMkLst>
            <pc:docMk/>
            <pc:sldMk cId="890566543" sldId="20832"/>
            <ac:spMk id="13" creationId="{C5709DD1-A1C6-48DC-A3D0-8A59591C6CDF}"/>
          </ac:spMkLst>
        </pc:spChg>
        <pc:spChg chg="add mod">
          <ac:chgData name="Centurione, Vittorio" userId="4ea74cf0-023b-4086-96b5-c11f6770f13d" providerId="ADAL" clId="{E8C80F40-9485-4335-83C6-9B272BE180E2}" dt="2020-11-05T16:33:52.765" v="240" actId="571"/>
          <ac:spMkLst>
            <pc:docMk/>
            <pc:sldMk cId="890566543" sldId="20832"/>
            <ac:spMk id="14" creationId="{B251CB5D-FC80-4693-8C17-150C777226AD}"/>
          </ac:spMkLst>
        </pc:spChg>
        <pc:spChg chg="add mod">
          <ac:chgData name="Centurione, Vittorio" userId="4ea74cf0-023b-4086-96b5-c11f6770f13d" providerId="ADAL" clId="{E8C80F40-9485-4335-83C6-9B272BE180E2}" dt="2020-11-05T16:33:54.805" v="241" actId="571"/>
          <ac:spMkLst>
            <pc:docMk/>
            <pc:sldMk cId="890566543" sldId="20832"/>
            <ac:spMk id="15" creationId="{5AFC64E7-F785-49AA-B5E6-47B97215E571}"/>
          </ac:spMkLst>
        </pc:spChg>
        <pc:spChg chg="add mod">
          <ac:chgData name="Centurione, Vittorio" userId="4ea74cf0-023b-4086-96b5-c11f6770f13d" providerId="ADAL" clId="{E8C80F40-9485-4335-83C6-9B272BE180E2}" dt="2020-11-05T16:33:58.960" v="242" actId="571"/>
          <ac:spMkLst>
            <pc:docMk/>
            <pc:sldMk cId="890566543" sldId="20832"/>
            <ac:spMk id="16" creationId="{11E47EF7-53C5-4490-9216-2B3373BB2C54}"/>
          </ac:spMkLst>
        </pc:spChg>
        <pc:spChg chg="add mod">
          <ac:chgData name="Centurione, Vittorio" userId="4ea74cf0-023b-4086-96b5-c11f6770f13d" providerId="ADAL" clId="{E8C80F40-9485-4335-83C6-9B272BE180E2}" dt="2020-11-05T16:34:02.592" v="243" actId="571"/>
          <ac:spMkLst>
            <pc:docMk/>
            <pc:sldMk cId="890566543" sldId="20832"/>
            <ac:spMk id="17" creationId="{7E509E72-9DED-4379-B86C-B39829F78583}"/>
          </ac:spMkLst>
        </pc:spChg>
        <pc:spChg chg="add mod">
          <ac:chgData name="Centurione, Vittorio" userId="4ea74cf0-023b-4086-96b5-c11f6770f13d" providerId="ADAL" clId="{E8C80F40-9485-4335-83C6-9B272BE180E2}" dt="2020-11-05T16:34:35.709" v="276" actId="1076"/>
          <ac:spMkLst>
            <pc:docMk/>
            <pc:sldMk cId="890566543" sldId="20832"/>
            <ac:spMk id="18" creationId="{7E535DF9-7328-4181-B21A-2F1F9E7509E3}"/>
          </ac:spMkLst>
        </pc:spChg>
        <pc:spChg chg="add mod">
          <ac:chgData name="Centurione, Vittorio" userId="4ea74cf0-023b-4086-96b5-c11f6770f13d" providerId="ADAL" clId="{E8C80F40-9485-4335-83C6-9B272BE180E2}" dt="2020-11-05T16:35:01.089" v="283" actId="1037"/>
          <ac:spMkLst>
            <pc:docMk/>
            <pc:sldMk cId="890566543" sldId="20832"/>
            <ac:spMk id="19" creationId="{8C0B60E9-873C-44B2-908B-CDDEA4A33923}"/>
          </ac:spMkLst>
        </pc:spChg>
        <pc:spChg chg="add mod">
          <ac:chgData name="Centurione, Vittorio" userId="4ea74cf0-023b-4086-96b5-c11f6770f13d" providerId="ADAL" clId="{E8C80F40-9485-4335-83C6-9B272BE180E2}" dt="2020-11-05T16:35:03.740" v="286" actId="1037"/>
          <ac:spMkLst>
            <pc:docMk/>
            <pc:sldMk cId="890566543" sldId="20832"/>
            <ac:spMk id="20" creationId="{D60DEAFD-5102-434E-BE3C-253178AEF2DB}"/>
          </ac:spMkLst>
        </pc:spChg>
        <pc:spChg chg="add mod">
          <ac:chgData name="Centurione, Vittorio" userId="4ea74cf0-023b-4086-96b5-c11f6770f13d" providerId="ADAL" clId="{E8C80F40-9485-4335-83C6-9B272BE180E2}" dt="2020-11-05T16:35:06.131" v="288" actId="1037"/>
          <ac:spMkLst>
            <pc:docMk/>
            <pc:sldMk cId="890566543" sldId="20832"/>
            <ac:spMk id="21" creationId="{292B20F6-28B7-4349-B195-A3ED551F5D67}"/>
          </ac:spMkLst>
        </pc:spChg>
        <pc:spChg chg="add mod">
          <ac:chgData name="Centurione, Vittorio" userId="4ea74cf0-023b-4086-96b5-c11f6770f13d" providerId="ADAL" clId="{E8C80F40-9485-4335-83C6-9B272BE180E2}" dt="2020-11-05T16:35:08.994" v="293" actId="1037"/>
          <ac:spMkLst>
            <pc:docMk/>
            <pc:sldMk cId="890566543" sldId="20832"/>
            <ac:spMk id="22" creationId="{0649794C-1985-41F4-87F4-127427124605}"/>
          </ac:spMkLst>
        </pc:spChg>
        <pc:spChg chg="add mod">
          <ac:chgData name="Centurione, Vittorio" userId="4ea74cf0-023b-4086-96b5-c11f6770f13d" providerId="ADAL" clId="{E8C80F40-9485-4335-83C6-9B272BE180E2}" dt="2020-11-05T16:35:11.549" v="296" actId="1037"/>
          <ac:spMkLst>
            <pc:docMk/>
            <pc:sldMk cId="890566543" sldId="20832"/>
            <ac:spMk id="23" creationId="{6EE1DD28-9C4F-43A6-8E3F-95B0E0705EA6}"/>
          </ac:spMkLst>
        </pc:spChg>
        <pc:spChg chg="mod">
          <ac:chgData name="Centurione, Vittorio" userId="4ea74cf0-023b-4086-96b5-c11f6770f13d" providerId="ADAL" clId="{E8C80F40-9485-4335-83C6-9B272BE180E2}" dt="2020-11-06T14:07:37.716" v="396" actId="114"/>
          <ac:spMkLst>
            <pc:docMk/>
            <pc:sldMk cId="890566543" sldId="20832"/>
            <ac:spMk id="24" creationId="{B09E3917-3D86-42FA-977E-6CF5A6B665F5}"/>
          </ac:spMkLst>
        </pc:spChg>
      </pc:sldChg>
      <pc:sldChg chg="del">
        <pc:chgData name="Centurione, Vittorio" userId="4ea74cf0-023b-4086-96b5-c11f6770f13d" providerId="ADAL" clId="{E8C80F40-9485-4335-83C6-9B272BE180E2}" dt="2020-11-05T16:28:24.429" v="146" actId="2696"/>
        <pc:sldMkLst>
          <pc:docMk/>
          <pc:sldMk cId="1284562330" sldId="20832"/>
        </pc:sldMkLst>
      </pc:sldChg>
      <pc:sldChg chg="add">
        <pc:chgData name="Centurione, Vittorio" userId="4ea74cf0-023b-4086-96b5-c11f6770f13d" providerId="ADAL" clId="{E8C80F40-9485-4335-83C6-9B272BE180E2}" dt="2020-11-05T16:37:16.283" v="328"/>
        <pc:sldMkLst>
          <pc:docMk/>
          <pc:sldMk cId="2117258818" sldId="20833"/>
        </pc:sldMkLst>
      </pc:sldChg>
      <pc:sldChg chg="addSp delSp add">
        <pc:chgData name="Centurione, Vittorio" userId="4ea74cf0-023b-4086-96b5-c11f6770f13d" providerId="ADAL" clId="{E8C80F40-9485-4335-83C6-9B272BE180E2}" dt="2020-11-06T14:08:08.419" v="398" actId="478"/>
        <pc:sldMkLst>
          <pc:docMk/>
          <pc:sldMk cId="4066981824" sldId="20834"/>
        </pc:sldMkLst>
        <pc:spChg chg="add del">
          <ac:chgData name="Centurione, Vittorio" userId="4ea74cf0-023b-4086-96b5-c11f6770f13d" providerId="ADAL" clId="{E8C80F40-9485-4335-83C6-9B272BE180E2}" dt="2020-11-06T14:08:08.419" v="398" actId="478"/>
          <ac:spMkLst>
            <pc:docMk/>
            <pc:sldMk cId="4066981824" sldId="20834"/>
            <ac:spMk id="24" creationId="{B09E3917-3D86-42FA-977E-6CF5A6B665F5}"/>
          </ac:spMkLst>
        </pc:spChg>
      </pc:sldChg>
      <pc:sldChg chg="add">
        <pc:chgData name="Centurione, Vittorio" userId="4ea74cf0-023b-4086-96b5-c11f6770f13d" providerId="ADAL" clId="{E8C80F40-9485-4335-83C6-9B272BE180E2}" dt="2020-11-05T16:37:37.066" v="330"/>
        <pc:sldMkLst>
          <pc:docMk/>
          <pc:sldMk cId="1068804750" sldId="20835"/>
        </pc:sldMkLst>
      </pc:sldChg>
      <pc:sldChg chg="addSp delSp modSp add ord">
        <pc:chgData name="Centurione, Vittorio" userId="4ea74cf0-023b-4086-96b5-c11f6770f13d" providerId="ADAL" clId="{E8C80F40-9485-4335-83C6-9B272BE180E2}" dt="2020-11-06T14:14:06.082" v="621" actId="20577"/>
        <pc:sldMkLst>
          <pc:docMk/>
          <pc:sldMk cId="1582394514" sldId="20836"/>
        </pc:sldMkLst>
        <pc:spChg chg="del">
          <ac:chgData name="Centurione, Vittorio" userId="4ea74cf0-023b-4086-96b5-c11f6770f13d" providerId="ADAL" clId="{E8C80F40-9485-4335-83C6-9B272BE180E2}" dt="2020-11-06T14:08:32.360" v="425" actId="478"/>
          <ac:spMkLst>
            <pc:docMk/>
            <pc:sldMk cId="1582394514" sldId="20836"/>
            <ac:spMk id="2" creationId="{3CC5C1B2-F9C5-4BE0-B316-D7473F4CBEE7}"/>
          </ac:spMkLst>
        </pc:spChg>
        <pc:spChg chg="add del mod">
          <ac:chgData name="Centurione, Vittorio" userId="4ea74cf0-023b-4086-96b5-c11f6770f13d" providerId="ADAL" clId="{E8C80F40-9485-4335-83C6-9B272BE180E2}" dt="2020-11-06T14:14:06.082" v="621" actId="20577"/>
          <ac:spMkLst>
            <pc:docMk/>
            <pc:sldMk cId="1582394514" sldId="20836"/>
            <ac:spMk id="3" creationId="{E6AC5206-17D6-4CF5-8E1D-130170A0ED3F}"/>
          </ac:spMkLst>
        </pc:spChg>
        <pc:spChg chg="del">
          <ac:chgData name="Centurione, Vittorio" userId="4ea74cf0-023b-4086-96b5-c11f6770f13d" providerId="ADAL" clId="{E8C80F40-9485-4335-83C6-9B272BE180E2}" dt="2020-11-06T14:08:32.360" v="425" actId="478"/>
          <ac:spMkLst>
            <pc:docMk/>
            <pc:sldMk cId="1582394514" sldId="20836"/>
            <ac:spMk id="5" creationId="{93EF6924-1207-45D5-B9B9-C9DD6336FDE7}"/>
          </ac:spMkLst>
        </pc:spChg>
        <pc:spChg chg="del">
          <ac:chgData name="Centurione, Vittorio" userId="4ea74cf0-023b-4086-96b5-c11f6770f13d" providerId="ADAL" clId="{E8C80F40-9485-4335-83C6-9B272BE180E2}" dt="2020-11-06T14:08:32.360" v="425" actId="478"/>
          <ac:spMkLst>
            <pc:docMk/>
            <pc:sldMk cId="1582394514" sldId="20836"/>
            <ac:spMk id="6" creationId="{108CEB1B-7CC3-46D7-AF7E-E481C18A6A3F}"/>
          </ac:spMkLst>
        </pc:spChg>
        <pc:spChg chg="del">
          <ac:chgData name="Centurione, Vittorio" userId="4ea74cf0-023b-4086-96b5-c11f6770f13d" providerId="ADAL" clId="{E8C80F40-9485-4335-83C6-9B272BE180E2}" dt="2020-11-06T14:08:32.360" v="425" actId="478"/>
          <ac:spMkLst>
            <pc:docMk/>
            <pc:sldMk cId="1582394514" sldId="20836"/>
            <ac:spMk id="7" creationId="{E90E8C09-101B-4FED-B231-8766CC8E7FEC}"/>
          </ac:spMkLst>
        </pc:spChg>
        <pc:spChg chg="del">
          <ac:chgData name="Centurione, Vittorio" userId="4ea74cf0-023b-4086-96b5-c11f6770f13d" providerId="ADAL" clId="{E8C80F40-9485-4335-83C6-9B272BE180E2}" dt="2020-11-06T14:08:32.360" v="425" actId="478"/>
          <ac:spMkLst>
            <pc:docMk/>
            <pc:sldMk cId="1582394514" sldId="20836"/>
            <ac:spMk id="8" creationId="{350D11FA-A7AD-449D-A6DE-8D0EB26F9F63}"/>
          </ac:spMkLst>
        </pc:spChg>
        <pc:spChg chg="del">
          <ac:chgData name="Centurione, Vittorio" userId="4ea74cf0-023b-4086-96b5-c11f6770f13d" providerId="ADAL" clId="{E8C80F40-9485-4335-83C6-9B272BE180E2}" dt="2020-11-06T14:08:32.360" v="425" actId="478"/>
          <ac:spMkLst>
            <pc:docMk/>
            <pc:sldMk cId="1582394514" sldId="20836"/>
            <ac:spMk id="9" creationId="{0899BEDC-A902-48D2-A249-9080B936C86B}"/>
          </ac:spMkLst>
        </pc:spChg>
        <pc:spChg chg="del">
          <ac:chgData name="Centurione, Vittorio" userId="4ea74cf0-023b-4086-96b5-c11f6770f13d" providerId="ADAL" clId="{E8C80F40-9485-4335-83C6-9B272BE180E2}" dt="2020-11-06T14:08:32.360" v="425" actId="478"/>
          <ac:spMkLst>
            <pc:docMk/>
            <pc:sldMk cId="1582394514" sldId="20836"/>
            <ac:spMk id="10" creationId="{10054D07-E46F-40D6-857C-A3D98918454A}"/>
          </ac:spMkLst>
        </pc:spChg>
        <pc:spChg chg="del">
          <ac:chgData name="Centurione, Vittorio" userId="4ea74cf0-023b-4086-96b5-c11f6770f13d" providerId="ADAL" clId="{E8C80F40-9485-4335-83C6-9B272BE180E2}" dt="2020-11-06T14:08:32.360" v="425" actId="478"/>
          <ac:spMkLst>
            <pc:docMk/>
            <pc:sldMk cId="1582394514" sldId="20836"/>
            <ac:spMk id="13" creationId="{C5709DD1-A1C6-48DC-A3D0-8A59591C6CDF}"/>
          </ac:spMkLst>
        </pc:spChg>
        <pc:spChg chg="del">
          <ac:chgData name="Centurione, Vittorio" userId="4ea74cf0-023b-4086-96b5-c11f6770f13d" providerId="ADAL" clId="{E8C80F40-9485-4335-83C6-9B272BE180E2}" dt="2020-11-06T14:08:32.360" v="425" actId="478"/>
          <ac:spMkLst>
            <pc:docMk/>
            <pc:sldMk cId="1582394514" sldId="20836"/>
            <ac:spMk id="14" creationId="{B251CB5D-FC80-4693-8C17-150C777226AD}"/>
          </ac:spMkLst>
        </pc:spChg>
        <pc:spChg chg="del">
          <ac:chgData name="Centurione, Vittorio" userId="4ea74cf0-023b-4086-96b5-c11f6770f13d" providerId="ADAL" clId="{E8C80F40-9485-4335-83C6-9B272BE180E2}" dt="2020-11-06T14:08:32.360" v="425" actId="478"/>
          <ac:spMkLst>
            <pc:docMk/>
            <pc:sldMk cId="1582394514" sldId="20836"/>
            <ac:spMk id="15" creationId="{5AFC64E7-F785-49AA-B5E6-47B97215E571}"/>
          </ac:spMkLst>
        </pc:spChg>
        <pc:spChg chg="del">
          <ac:chgData name="Centurione, Vittorio" userId="4ea74cf0-023b-4086-96b5-c11f6770f13d" providerId="ADAL" clId="{E8C80F40-9485-4335-83C6-9B272BE180E2}" dt="2020-11-06T14:08:32.360" v="425" actId="478"/>
          <ac:spMkLst>
            <pc:docMk/>
            <pc:sldMk cId="1582394514" sldId="20836"/>
            <ac:spMk id="16" creationId="{11E47EF7-53C5-4490-9216-2B3373BB2C54}"/>
          </ac:spMkLst>
        </pc:spChg>
        <pc:spChg chg="del">
          <ac:chgData name="Centurione, Vittorio" userId="4ea74cf0-023b-4086-96b5-c11f6770f13d" providerId="ADAL" clId="{E8C80F40-9485-4335-83C6-9B272BE180E2}" dt="2020-11-06T14:08:32.360" v="425" actId="478"/>
          <ac:spMkLst>
            <pc:docMk/>
            <pc:sldMk cId="1582394514" sldId="20836"/>
            <ac:spMk id="17" creationId="{7E509E72-9DED-4379-B86C-B39829F78583}"/>
          </ac:spMkLst>
        </pc:spChg>
        <pc:spChg chg="del">
          <ac:chgData name="Centurione, Vittorio" userId="4ea74cf0-023b-4086-96b5-c11f6770f13d" providerId="ADAL" clId="{E8C80F40-9485-4335-83C6-9B272BE180E2}" dt="2020-11-06T14:08:32.360" v="425" actId="478"/>
          <ac:spMkLst>
            <pc:docMk/>
            <pc:sldMk cId="1582394514" sldId="20836"/>
            <ac:spMk id="18" creationId="{7E535DF9-7328-4181-B21A-2F1F9E7509E3}"/>
          </ac:spMkLst>
        </pc:spChg>
        <pc:spChg chg="del">
          <ac:chgData name="Centurione, Vittorio" userId="4ea74cf0-023b-4086-96b5-c11f6770f13d" providerId="ADAL" clId="{E8C80F40-9485-4335-83C6-9B272BE180E2}" dt="2020-11-06T14:08:32.360" v="425" actId="478"/>
          <ac:spMkLst>
            <pc:docMk/>
            <pc:sldMk cId="1582394514" sldId="20836"/>
            <ac:spMk id="19" creationId="{8C0B60E9-873C-44B2-908B-CDDEA4A33923}"/>
          </ac:spMkLst>
        </pc:spChg>
        <pc:spChg chg="del">
          <ac:chgData name="Centurione, Vittorio" userId="4ea74cf0-023b-4086-96b5-c11f6770f13d" providerId="ADAL" clId="{E8C80F40-9485-4335-83C6-9B272BE180E2}" dt="2020-11-06T14:08:32.360" v="425" actId="478"/>
          <ac:spMkLst>
            <pc:docMk/>
            <pc:sldMk cId="1582394514" sldId="20836"/>
            <ac:spMk id="20" creationId="{D60DEAFD-5102-434E-BE3C-253178AEF2DB}"/>
          </ac:spMkLst>
        </pc:spChg>
        <pc:spChg chg="del">
          <ac:chgData name="Centurione, Vittorio" userId="4ea74cf0-023b-4086-96b5-c11f6770f13d" providerId="ADAL" clId="{E8C80F40-9485-4335-83C6-9B272BE180E2}" dt="2020-11-06T14:08:32.360" v="425" actId="478"/>
          <ac:spMkLst>
            <pc:docMk/>
            <pc:sldMk cId="1582394514" sldId="20836"/>
            <ac:spMk id="21" creationId="{292B20F6-28B7-4349-B195-A3ED551F5D67}"/>
          </ac:spMkLst>
        </pc:spChg>
        <pc:spChg chg="del">
          <ac:chgData name="Centurione, Vittorio" userId="4ea74cf0-023b-4086-96b5-c11f6770f13d" providerId="ADAL" clId="{E8C80F40-9485-4335-83C6-9B272BE180E2}" dt="2020-11-06T14:08:32.360" v="425" actId="478"/>
          <ac:spMkLst>
            <pc:docMk/>
            <pc:sldMk cId="1582394514" sldId="20836"/>
            <ac:spMk id="22" creationId="{0649794C-1985-41F4-87F4-127427124605}"/>
          </ac:spMkLst>
        </pc:spChg>
        <pc:spChg chg="del">
          <ac:chgData name="Centurione, Vittorio" userId="4ea74cf0-023b-4086-96b5-c11f6770f13d" providerId="ADAL" clId="{E8C80F40-9485-4335-83C6-9B272BE180E2}" dt="2020-11-06T14:08:32.360" v="425" actId="478"/>
          <ac:spMkLst>
            <pc:docMk/>
            <pc:sldMk cId="1582394514" sldId="20836"/>
            <ac:spMk id="23" creationId="{6EE1DD28-9C4F-43A6-8E3F-95B0E0705EA6}"/>
          </ac:spMkLst>
        </pc:spChg>
        <pc:spChg chg="mod">
          <ac:chgData name="Centurione, Vittorio" userId="4ea74cf0-023b-4086-96b5-c11f6770f13d" providerId="ADAL" clId="{E8C80F40-9485-4335-83C6-9B272BE180E2}" dt="2020-11-06T14:09:38.253" v="445" actId="20577"/>
          <ac:spMkLst>
            <pc:docMk/>
            <pc:sldMk cId="1582394514" sldId="20836"/>
            <ac:spMk id="24" creationId="{B09E3917-3D86-42FA-977E-6CF5A6B665F5}"/>
          </ac:spMkLst>
        </pc:spChg>
      </pc:sldChg>
      <pc:sldMasterChg chg="del delSldLayout">
        <pc:chgData name="Centurione, Vittorio" userId="4ea74cf0-023b-4086-96b5-c11f6770f13d" providerId="ADAL" clId="{E8C80F40-9485-4335-83C6-9B272BE180E2}" dt="2020-11-05T16:28:23.127" v="93" actId="2696"/>
        <pc:sldMasterMkLst>
          <pc:docMk/>
          <pc:sldMasterMk cId="3219788368" sldId="2147483719"/>
        </pc:sldMasterMkLst>
        <pc:sldLayoutChg chg="del">
          <pc:chgData name="Centurione, Vittorio" userId="4ea74cf0-023b-4086-96b5-c11f6770f13d" providerId="ADAL" clId="{E8C80F40-9485-4335-83C6-9B272BE180E2}" dt="2020-11-05T16:28:22.996" v="66" actId="2696"/>
          <pc:sldLayoutMkLst>
            <pc:docMk/>
            <pc:sldMasterMk cId="3219788368" sldId="2147483719"/>
            <pc:sldLayoutMk cId="1757131206" sldId="2147483720"/>
          </pc:sldLayoutMkLst>
        </pc:sldLayoutChg>
        <pc:sldLayoutChg chg="del">
          <pc:chgData name="Centurione, Vittorio" userId="4ea74cf0-023b-4086-96b5-c11f6770f13d" providerId="ADAL" clId="{E8C80F40-9485-4335-83C6-9B272BE180E2}" dt="2020-11-05T16:28:23" v="67" actId="2696"/>
          <pc:sldLayoutMkLst>
            <pc:docMk/>
            <pc:sldMasterMk cId="3219788368" sldId="2147483719"/>
            <pc:sldLayoutMk cId="2769301983" sldId="2147483721"/>
          </pc:sldLayoutMkLst>
        </pc:sldLayoutChg>
        <pc:sldLayoutChg chg="del">
          <pc:chgData name="Centurione, Vittorio" userId="4ea74cf0-023b-4086-96b5-c11f6770f13d" providerId="ADAL" clId="{E8C80F40-9485-4335-83C6-9B272BE180E2}" dt="2020-11-05T16:28:23.004" v="68" actId="2696"/>
          <pc:sldLayoutMkLst>
            <pc:docMk/>
            <pc:sldMasterMk cId="3219788368" sldId="2147483719"/>
            <pc:sldLayoutMk cId="2354019893" sldId="2147483722"/>
          </pc:sldLayoutMkLst>
        </pc:sldLayoutChg>
        <pc:sldLayoutChg chg="del">
          <pc:chgData name="Centurione, Vittorio" userId="4ea74cf0-023b-4086-96b5-c11f6770f13d" providerId="ADAL" clId="{E8C80F40-9485-4335-83C6-9B272BE180E2}" dt="2020-11-05T16:28:23.008" v="69" actId="2696"/>
          <pc:sldLayoutMkLst>
            <pc:docMk/>
            <pc:sldMasterMk cId="3219788368" sldId="2147483719"/>
            <pc:sldLayoutMk cId="3544705280" sldId="2147483723"/>
          </pc:sldLayoutMkLst>
        </pc:sldLayoutChg>
        <pc:sldLayoutChg chg="del">
          <pc:chgData name="Centurione, Vittorio" userId="4ea74cf0-023b-4086-96b5-c11f6770f13d" providerId="ADAL" clId="{E8C80F40-9485-4335-83C6-9B272BE180E2}" dt="2020-11-05T16:28:23.010" v="70" actId="2696"/>
          <pc:sldLayoutMkLst>
            <pc:docMk/>
            <pc:sldMasterMk cId="3219788368" sldId="2147483719"/>
            <pc:sldLayoutMk cId="2942107583" sldId="2147483724"/>
          </pc:sldLayoutMkLst>
        </pc:sldLayoutChg>
        <pc:sldLayoutChg chg="del">
          <pc:chgData name="Centurione, Vittorio" userId="4ea74cf0-023b-4086-96b5-c11f6770f13d" providerId="ADAL" clId="{E8C80F40-9485-4335-83C6-9B272BE180E2}" dt="2020-11-05T16:28:23.011" v="71" actId="2696"/>
          <pc:sldLayoutMkLst>
            <pc:docMk/>
            <pc:sldMasterMk cId="3219788368" sldId="2147483719"/>
            <pc:sldLayoutMk cId="1837097046" sldId="2147483725"/>
          </pc:sldLayoutMkLst>
        </pc:sldLayoutChg>
        <pc:sldLayoutChg chg="del">
          <pc:chgData name="Centurione, Vittorio" userId="4ea74cf0-023b-4086-96b5-c11f6770f13d" providerId="ADAL" clId="{E8C80F40-9485-4335-83C6-9B272BE180E2}" dt="2020-11-05T16:28:23.013" v="72" actId="2696"/>
          <pc:sldLayoutMkLst>
            <pc:docMk/>
            <pc:sldMasterMk cId="3219788368" sldId="2147483719"/>
            <pc:sldLayoutMk cId="3013630338" sldId="2147483726"/>
          </pc:sldLayoutMkLst>
        </pc:sldLayoutChg>
        <pc:sldLayoutChg chg="del">
          <pc:chgData name="Centurione, Vittorio" userId="4ea74cf0-023b-4086-96b5-c11f6770f13d" providerId="ADAL" clId="{E8C80F40-9485-4335-83C6-9B272BE180E2}" dt="2020-11-05T16:28:23.016" v="73" actId="2696"/>
          <pc:sldLayoutMkLst>
            <pc:docMk/>
            <pc:sldMasterMk cId="3219788368" sldId="2147483719"/>
            <pc:sldLayoutMk cId="2343324231" sldId="2147483727"/>
          </pc:sldLayoutMkLst>
        </pc:sldLayoutChg>
        <pc:sldLayoutChg chg="del">
          <pc:chgData name="Centurione, Vittorio" userId="4ea74cf0-023b-4086-96b5-c11f6770f13d" providerId="ADAL" clId="{E8C80F40-9485-4335-83C6-9B272BE180E2}" dt="2020-11-05T16:28:23.018" v="74" actId="2696"/>
          <pc:sldLayoutMkLst>
            <pc:docMk/>
            <pc:sldMasterMk cId="3219788368" sldId="2147483719"/>
            <pc:sldLayoutMk cId="3875652316" sldId="2147483728"/>
          </pc:sldLayoutMkLst>
        </pc:sldLayoutChg>
        <pc:sldLayoutChg chg="del">
          <pc:chgData name="Centurione, Vittorio" userId="4ea74cf0-023b-4086-96b5-c11f6770f13d" providerId="ADAL" clId="{E8C80F40-9485-4335-83C6-9B272BE180E2}" dt="2020-11-05T16:28:23.019" v="75" actId="2696"/>
          <pc:sldLayoutMkLst>
            <pc:docMk/>
            <pc:sldMasterMk cId="3219788368" sldId="2147483719"/>
            <pc:sldLayoutMk cId="3772469264" sldId="2147483729"/>
          </pc:sldLayoutMkLst>
        </pc:sldLayoutChg>
        <pc:sldLayoutChg chg="del">
          <pc:chgData name="Centurione, Vittorio" userId="4ea74cf0-023b-4086-96b5-c11f6770f13d" providerId="ADAL" clId="{E8C80F40-9485-4335-83C6-9B272BE180E2}" dt="2020-11-05T16:28:23.021" v="76" actId="2696"/>
          <pc:sldLayoutMkLst>
            <pc:docMk/>
            <pc:sldMasterMk cId="3219788368" sldId="2147483719"/>
            <pc:sldLayoutMk cId="311331393" sldId="2147483730"/>
          </pc:sldLayoutMkLst>
        </pc:sldLayoutChg>
        <pc:sldLayoutChg chg="del">
          <pc:chgData name="Centurione, Vittorio" userId="4ea74cf0-023b-4086-96b5-c11f6770f13d" providerId="ADAL" clId="{E8C80F40-9485-4335-83C6-9B272BE180E2}" dt="2020-11-05T16:28:23.027" v="77" actId="2696"/>
          <pc:sldLayoutMkLst>
            <pc:docMk/>
            <pc:sldMasterMk cId="3219788368" sldId="2147483719"/>
            <pc:sldLayoutMk cId="2858088456" sldId="2147483731"/>
          </pc:sldLayoutMkLst>
        </pc:sldLayoutChg>
        <pc:sldLayoutChg chg="del">
          <pc:chgData name="Centurione, Vittorio" userId="4ea74cf0-023b-4086-96b5-c11f6770f13d" providerId="ADAL" clId="{E8C80F40-9485-4335-83C6-9B272BE180E2}" dt="2020-11-05T16:28:23.029" v="78" actId="2696"/>
          <pc:sldLayoutMkLst>
            <pc:docMk/>
            <pc:sldMasterMk cId="3219788368" sldId="2147483719"/>
            <pc:sldLayoutMk cId="3460269356" sldId="2147483732"/>
          </pc:sldLayoutMkLst>
        </pc:sldLayoutChg>
        <pc:sldLayoutChg chg="del">
          <pc:chgData name="Centurione, Vittorio" userId="4ea74cf0-023b-4086-96b5-c11f6770f13d" providerId="ADAL" clId="{E8C80F40-9485-4335-83C6-9B272BE180E2}" dt="2020-11-05T16:28:23.031" v="79" actId="2696"/>
          <pc:sldLayoutMkLst>
            <pc:docMk/>
            <pc:sldMasterMk cId="3219788368" sldId="2147483719"/>
            <pc:sldLayoutMk cId="244011240" sldId="2147483733"/>
          </pc:sldLayoutMkLst>
        </pc:sldLayoutChg>
        <pc:sldLayoutChg chg="del">
          <pc:chgData name="Centurione, Vittorio" userId="4ea74cf0-023b-4086-96b5-c11f6770f13d" providerId="ADAL" clId="{E8C80F40-9485-4335-83C6-9B272BE180E2}" dt="2020-11-05T16:28:23.035" v="80" actId="2696"/>
          <pc:sldLayoutMkLst>
            <pc:docMk/>
            <pc:sldMasterMk cId="3219788368" sldId="2147483719"/>
            <pc:sldLayoutMk cId="1128133463" sldId="2147483734"/>
          </pc:sldLayoutMkLst>
        </pc:sldLayoutChg>
        <pc:sldLayoutChg chg="del">
          <pc:chgData name="Centurione, Vittorio" userId="4ea74cf0-023b-4086-96b5-c11f6770f13d" providerId="ADAL" clId="{E8C80F40-9485-4335-83C6-9B272BE180E2}" dt="2020-11-05T16:28:23.040" v="81" actId="2696"/>
          <pc:sldLayoutMkLst>
            <pc:docMk/>
            <pc:sldMasterMk cId="3219788368" sldId="2147483719"/>
            <pc:sldLayoutMk cId="2203238723" sldId="2147483735"/>
          </pc:sldLayoutMkLst>
        </pc:sldLayoutChg>
        <pc:sldLayoutChg chg="del">
          <pc:chgData name="Centurione, Vittorio" userId="4ea74cf0-023b-4086-96b5-c11f6770f13d" providerId="ADAL" clId="{E8C80F40-9485-4335-83C6-9B272BE180E2}" dt="2020-11-05T16:28:23.043" v="82" actId="2696"/>
          <pc:sldLayoutMkLst>
            <pc:docMk/>
            <pc:sldMasterMk cId="3219788368" sldId="2147483719"/>
            <pc:sldLayoutMk cId="2985520687" sldId="2147483736"/>
          </pc:sldLayoutMkLst>
        </pc:sldLayoutChg>
        <pc:sldLayoutChg chg="del">
          <pc:chgData name="Centurione, Vittorio" userId="4ea74cf0-023b-4086-96b5-c11f6770f13d" providerId="ADAL" clId="{E8C80F40-9485-4335-83C6-9B272BE180E2}" dt="2020-11-05T16:28:23.050" v="83" actId="2696"/>
          <pc:sldLayoutMkLst>
            <pc:docMk/>
            <pc:sldMasterMk cId="3219788368" sldId="2147483719"/>
            <pc:sldLayoutMk cId="3169663344" sldId="2147483737"/>
          </pc:sldLayoutMkLst>
        </pc:sldLayoutChg>
        <pc:sldLayoutChg chg="del">
          <pc:chgData name="Centurione, Vittorio" userId="4ea74cf0-023b-4086-96b5-c11f6770f13d" providerId="ADAL" clId="{E8C80F40-9485-4335-83C6-9B272BE180E2}" dt="2020-11-05T16:28:23.057" v="84" actId="2696"/>
          <pc:sldLayoutMkLst>
            <pc:docMk/>
            <pc:sldMasterMk cId="3219788368" sldId="2147483719"/>
            <pc:sldLayoutMk cId="3302231368" sldId="2147483738"/>
          </pc:sldLayoutMkLst>
        </pc:sldLayoutChg>
        <pc:sldLayoutChg chg="del">
          <pc:chgData name="Centurione, Vittorio" userId="4ea74cf0-023b-4086-96b5-c11f6770f13d" providerId="ADAL" clId="{E8C80F40-9485-4335-83C6-9B272BE180E2}" dt="2020-11-05T16:28:23.072" v="85" actId="2696"/>
          <pc:sldLayoutMkLst>
            <pc:docMk/>
            <pc:sldMasterMk cId="3219788368" sldId="2147483719"/>
            <pc:sldLayoutMk cId="491730166" sldId="2147483739"/>
          </pc:sldLayoutMkLst>
        </pc:sldLayoutChg>
        <pc:sldLayoutChg chg="del">
          <pc:chgData name="Centurione, Vittorio" userId="4ea74cf0-023b-4086-96b5-c11f6770f13d" providerId="ADAL" clId="{E8C80F40-9485-4335-83C6-9B272BE180E2}" dt="2020-11-05T16:28:23.089" v="86" actId="2696"/>
          <pc:sldLayoutMkLst>
            <pc:docMk/>
            <pc:sldMasterMk cId="3219788368" sldId="2147483719"/>
            <pc:sldLayoutMk cId="1032583056" sldId="2147483740"/>
          </pc:sldLayoutMkLst>
        </pc:sldLayoutChg>
        <pc:sldLayoutChg chg="del">
          <pc:chgData name="Centurione, Vittorio" userId="4ea74cf0-023b-4086-96b5-c11f6770f13d" providerId="ADAL" clId="{E8C80F40-9485-4335-83C6-9B272BE180E2}" dt="2020-11-05T16:28:23.115" v="88" actId="2696"/>
          <pc:sldLayoutMkLst>
            <pc:docMk/>
            <pc:sldMasterMk cId="3219788368" sldId="2147483719"/>
            <pc:sldLayoutMk cId="94857705" sldId="2147483741"/>
          </pc:sldLayoutMkLst>
        </pc:sldLayoutChg>
        <pc:sldLayoutChg chg="del">
          <pc:chgData name="Centurione, Vittorio" userId="4ea74cf0-023b-4086-96b5-c11f6770f13d" providerId="ADAL" clId="{E8C80F40-9485-4335-83C6-9B272BE180E2}" dt="2020-11-05T16:28:23.117" v="90" actId="2696"/>
          <pc:sldLayoutMkLst>
            <pc:docMk/>
            <pc:sldMasterMk cId="3219788368" sldId="2147483719"/>
            <pc:sldLayoutMk cId="1852108247" sldId="2147483742"/>
          </pc:sldLayoutMkLst>
        </pc:sldLayoutChg>
        <pc:sldLayoutChg chg="del">
          <pc:chgData name="Centurione, Vittorio" userId="4ea74cf0-023b-4086-96b5-c11f6770f13d" providerId="ADAL" clId="{E8C80F40-9485-4335-83C6-9B272BE180E2}" dt="2020-11-05T16:28:23.120" v="91" actId="2696"/>
          <pc:sldLayoutMkLst>
            <pc:docMk/>
            <pc:sldMasterMk cId="3219788368" sldId="2147483719"/>
            <pc:sldLayoutMk cId="2528800488" sldId="2147483743"/>
          </pc:sldLayoutMkLst>
        </pc:sldLayoutChg>
        <pc:sldLayoutChg chg="del">
          <pc:chgData name="Centurione, Vittorio" userId="4ea74cf0-023b-4086-96b5-c11f6770f13d" providerId="ADAL" clId="{E8C80F40-9485-4335-83C6-9B272BE180E2}" dt="2020-11-05T16:28:23.125" v="92" actId="2696"/>
          <pc:sldLayoutMkLst>
            <pc:docMk/>
            <pc:sldMasterMk cId="3219788368" sldId="2147483719"/>
            <pc:sldLayoutMk cId="1586325448" sldId="2147483744"/>
          </pc:sldLayoutMkLst>
        </pc:sldLayoutChg>
        <pc:sldLayoutChg chg="del">
          <pc:chgData name="Centurione, Vittorio" userId="4ea74cf0-023b-4086-96b5-c11f6770f13d" providerId="ADAL" clId="{E8C80F40-9485-4335-83C6-9B272BE180E2}" dt="2020-11-05T16:28:23.100" v="87" actId="2696"/>
          <pc:sldLayoutMkLst>
            <pc:docMk/>
            <pc:sldMasterMk cId="3219788368" sldId="2147483719"/>
            <pc:sldLayoutMk cId="2387558079" sldId="2147483774"/>
          </pc:sldLayoutMkLst>
        </pc:sldLayoutChg>
        <pc:sldLayoutChg chg="del">
          <pc:chgData name="Centurione, Vittorio" userId="4ea74cf0-023b-4086-96b5-c11f6770f13d" providerId="ADAL" clId="{E8C80F40-9485-4335-83C6-9B272BE180E2}" dt="2020-11-05T16:28:23.116" v="89" actId="2696"/>
          <pc:sldLayoutMkLst>
            <pc:docMk/>
            <pc:sldMasterMk cId="3219788368" sldId="2147483719"/>
            <pc:sldLayoutMk cId="3527000906" sldId="2147483781"/>
          </pc:sldLayoutMkLst>
        </pc:sldLayoutChg>
      </pc:sldMasterChg>
    </pc:docChg>
  </pc:docChgLst>
  <pc:docChgLst>
    <pc:chgData name="Centurione, Vittorio" userId="4ea74cf0-023b-4086-96b5-c11f6770f13d" providerId="ADAL" clId="{C79EBADB-BFD3-4A4A-842C-5D0FDEE4FD92}"/>
    <pc:docChg chg="undo custSel addSld modSld">
      <pc:chgData name="Centurione, Vittorio" userId="4ea74cf0-023b-4086-96b5-c11f6770f13d" providerId="ADAL" clId="{C79EBADB-BFD3-4A4A-842C-5D0FDEE4FD92}" dt="2020-11-04T10:15:06.548" v="601" actId="13926"/>
      <pc:docMkLst>
        <pc:docMk/>
      </pc:docMkLst>
      <pc:sldChg chg="delSp modSp">
        <pc:chgData name="Centurione, Vittorio" userId="4ea74cf0-023b-4086-96b5-c11f6770f13d" providerId="ADAL" clId="{C79EBADB-BFD3-4A4A-842C-5D0FDEE4FD92}" dt="2020-11-01T20:37:18.225" v="205" actId="1036"/>
        <pc:sldMkLst>
          <pc:docMk/>
          <pc:sldMk cId="2511185278" sldId="20782"/>
        </pc:sldMkLst>
        <pc:spChg chg="mod">
          <ac:chgData name="Centurione, Vittorio" userId="4ea74cf0-023b-4086-96b5-c11f6770f13d" providerId="ADAL" clId="{C79EBADB-BFD3-4A4A-842C-5D0FDEE4FD92}" dt="2020-11-01T20:37:09.987" v="198" actId="1036"/>
          <ac:spMkLst>
            <pc:docMk/>
            <pc:sldMk cId="2511185278" sldId="20782"/>
            <ac:spMk id="110" creationId="{C202B1D2-BDF5-478A-A268-2A0C73AC90D7}"/>
          </ac:spMkLst>
        </pc:spChg>
        <pc:spChg chg="mod">
          <ac:chgData name="Centurione, Vittorio" userId="4ea74cf0-023b-4086-96b5-c11f6770f13d" providerId="ADAL" clId="{C79EBADB-BFD3-4A4A-842C-5D0FDEE4FD92}" dt="2020-11-01T20:37:09.987" v="198" actId="1036"/>
          <ac:spMkLst>
            <pc:docMk/>
            <pc:sldMk cId="2511185278" sldId="20782"/>
            <ac:spMk id="111" creationId="{9CDCDFCB-A66D-42B0-81BB-905A4F219E12}"/>
          </ac:spMkLst>
        </pc:spChg>
        <pc:spChg chg="mod">
          <ac:chgData name="Centurione, Vittorio" userId="4ea74cf0-023b-4086-96b5-c11f6770f13d" providerId="ADAL" clId="{C79EBADB-BFD3-4A4A-842C-5D0FDEE4FD92}" dt="2020-11-01T20:37:18.225" v="205" actId="1036"/>
          <ac:spMkLst>
            <pc:docMk/>
            <pc:sldMk cId="2511185278" sldId="20782"/>
            <ac:spMk id="112" creationId="{081E79F9-1DD1-44A9-8B5D-617846EFB848}"/>
          </ac:spMkLst>
        </pc:spChg>
        <pc:spChg chg="mod topLvl">
          <ac:chgData name="Centurione, Vittorio" userId="4ea74cf0-023b-4086-96b5-c11f6770f13d" providerId="ADAL" clId="{C79EBADB-BFD3-4A4A-842C-5D0FDEE4FD92}" dt="2020-11-01T20:37:18.225" v="205" actId="1036"/>
          <ac:spMkLst>
            <pc:docMk/>
            <pc:sldMk cId="2511185278" sldId="20782"/>
            <ac:spMk id="115" creationId="{83ABFA30-A793-4705-A91E-A5E0A4492801}"/>
          </ac:spMkLst>
        </pc:spChg>
        <pc:grpChg chg="del">
          <ac:chgData name="Centurione, Vittorio" userId="4ea74cf0-023b-4086-96b5-c11f6770f13d" providerId="ADAL" clId="{C79EBADB-BFD3-4A4A-842C-5D0FDEE4FD92}" dt="2020-11-01T20:37:13.875" v="199" actId="478"/>
          <ac:grpSpMkLst>
            <pc:docMk/>
            <pc:sldMk cId="2511185278" sldId="20782"/>
            <ac:grpSpMk id="113" creationId="{9CCE9EF2-8474-4E02-8AEA-2011616C5F85}"/>
          </ac:grpSpMkLst>
        </pc:grpChg>
        <pc:picChg chg="del topLvl">
          <ac:chgData name="Centurione, Vittorio" userId="4ea74cf0-023b-4086-96b5-c11f6770f13d" providerId="ADAL" clId="{C79EBADB-BFD3-4A4A-842C-5D0FDEE4FD92}" dt="2020-11-01T20:37:13.875" v="199" actId="478"/>
          <ac:picMkLst>
            <pc:docMk/>
            <pc:sldMk cId="2511185278" sldId="20782"/>
            <ac:picMk id="114" creationId="{969ACCF5-17CC-402A-99ED-3E11D9B93DC9}"/>
          </ac:picMkLst>
        </pc:picChg>
      </pc:sldChg>
      <pc:sldChg chg="addSp delSp">
        <pc:chgData name="Centurione, Vittorio" userId="4ea74cf0-023b-4086-96b5-c11f6770f13d" providerId="ADAL" clId="{C79EBADB-BFD3-4A4A-842C-5D0FDEE4FD92}" dt="2020-11-02T18:01:13.721" v="209"/>
        <pc:sldMkLst>
          <pc:docMk/>
          <pc:sldMk cId="87923069" sldId="20823"/>
        </pc:sldMkLst>
        <pc:spChg chg="add del">
          <ac:chgData name="Centurione, Vittorio" userId="4ea74cf0-023b-4086-96b5-c11f6770f13d" providerId="ADAL" clId="{C79EBADB-BFD3-4A4A-842C-5D0FDEE4FD92}" dt="2020-11-02T18:01:11.300" v="207"/>
          <ac:spMkLst>
            <pc:docMk/>
            <pc:sldMk cId="87923069" sldId="20823"/>
            <ac:spMk id="29" creationId="{341AFD0D-F5FD-44BD-9231-1624B18E1CEA}"/>
          </ac:spMkLst>
        </pc:spChg>
        <pc:spChg chg="add del">
          <ac:chgData name="Centurione, Vittorio" userId="4ea74cf0-023b-4086-96b5-c11f6770f13d" providerId="ADAL" clId="{C79EBADB-BFD3-4A4A-842C-5D0FDEE4FD92}" dt="2020-11-02T18:01:11.300" v="207"/>
          <ac:spMkLst>
            <pc:docMk/>
            <pc:sldMk cId="87923069" sldId="20823"/>
            <ac:spMk id="37" creationId="{CE9CFB73-4FB0-4CC4-B0A2-77C38FADC89B}"/>
          </ac:spMkLst>
        </pc:spChg>
        <pc:spChg chg="add del">
          <ac:chgData name="Centurione, Vittorio" userId="4ea74cf0-023b-4086-96b5-c11f6770f13d" providerId="ADAL" clId="{C79EBADB-BFD3-4A4A-842C-5D0FDEE4FD92}" dt="2020-11-02T18:01:11.300" v="207"/>
          <ac:spMkLst>
            <pc:docMk/>
            <pc:sldMk cId="87923069" sldId="20823"/>
            <ac:spMk id="38" creationId="{35DEC6E5-DC51-4A73-BF05-004EB8B0157C}"/>
          </ac:spMkLst>
        </pc:spChg>
        <pc:spChg chg="add del">
          <ac:chgData name="Centurione, Vittorio" userId="4ea74cf0-023b-4086-96b5-c11f6770f13d" providerId="ADAL" clId="{C79EBADB-BFD3-4A4A-842C-5D0FDEE4FD92}" dt="2020-11-02T18:01:11.300" v="207"/>
          <ac:spMkLst>
            <pc:docMk/>
            <pc:sldMk cId="87923069" sldId="20823"/>
            <ac:spMk id="40" creationId="{577E023E-1C5E-4EC3-BE97-4C61D8D02137}"/>
          </ac:spMkLst>
        </pc:spChg>
        <pc:spChg chg="add del">
          <ac:chgData name="Centurione, Vittorio" userId="4ea74cf0-023b-4086-96b5-c11f6770f13d" providerId="ADAL" clId="{C79EBADB-BFD3-4A4A-842C-5D0FDEE4FD92}" dt="2020-11-02T18:01:11.300" v="207"/>
          <ac:spMkLst>
            <pc:docMk/>
            <pc:sldMk cId="87923069" sldId="20823"/>
            <ac:spMk id="43" creationId="{1C8C31D3-47EA-4321-8414-9D61CA91F9E9}"/>
          </ac:spMkLst>
        </pc:spChg>
        <pc:spChg chg="add del">
          <ac:chgData name="Centurione, Vittorio" userId="4ea74cf0-023b-4086-96b5-c11f6770f13d" providerId="ADAL" clId="{C79EBADB-BFD3-4A4A-842C-5D0FDEE4FD92}" dt="2020-11-02T18:01:11.300" v="207"/>
          <ac:spMkLst>
            <pc:docMk/>
            <pc:sldMk cId="87923069" sldId="20823"/>
            <ac:spMk id="44" creationId="{1835CB04-83F8-4990-A7C6-4D7FD30F5C9A}"/>
          </ac:spMkLst>
        </pc:spChg>
        <pc:spChg chg="add del">
          <ac:chgData name="Centurione, Vittorio" userId="4ea74cf0-023b-4086-96b5-c11f6770f13d" providerId="ADAL" clId="{C79EBADB-BFD3-4A4A-842C-5D0FDEE4FD92}" dt="2020-11-02T18:01:11.300" v="207"/>
          <ac:spMkLst>
            <pc:docMk/>
            <pc:sldMk cId="87923069" sldId="20823"/>
            <ac:spMk id="45" creationId="{3F5208EA-FC74-477A-A880-05833AAD3252}"/>
          </ac:spMkLst>
        </pc:spChg>
        <pc:spChg chg="add del">
          <ac:chgData name="Centurione, Vittorio" userId="4ea74cf0-023b-4086-96b5-c11f6770f13d" providerId="ADAL" clId="{C79EBADB-BFD3-4A4A-842C-5D0FDEE4FD92}" dt="2020-11-02T18:01:11.300" v="207"/>
          <ac:spMkLst>
            <pc:docMk/>
            <pc:sldMk cId="87923069" sldId="20823"/>
            <ac:spMk id="46" creationId="{558F0161-5D84-4F58-811E-9A2F2B7F8D6D}"/>
          </ac:spMkLst>
        </pc:spChg>
        <pc:spChg chg="add del">
          <ac:chgData name="Centurione, Vittorio" userId="4ea74cf0-023b-4086-96b5-c11f6770f13d" providerId="ADAL" clId="{C79EBADB-BFD3-4A4A-842C-5D0FDEE4FD92}" dt="2020-11-02T18:01:11.300" v="207"/>
          <ac:spMkLst>
            <pc:docMk/>
            <pc:sldMk cId="87923069" sldId="20823"/>
            <ac:spMk id="47" creationId="{04392862-9EF2-4D7A-955D-7EDE85D9FE7C}"/>
          </ac:spMkLst>
        </pc:spChg>
        <pc:spChg chg="add del">
          <ac:chgData name="Centurione, Vittorio" userId="4ea74cf0-023b-4086-96b5-c11f6770f13d" providerId="ADAL" clId="{C79EBADB-BFD3-4A4A-842C-5D0FDEE4FD92}" dt="2020-11-02T18:01:11.300" v="207"/>
          <ac:spMkLst>
            <pc:docMk/>
            <pc:sldMk cId="87923069" sldId="20823"/>
            <ac:spMk id="48" creationId="{B4EA0880-37A9-4E71-8D58-4A7AD9F1A79A}"/>
          </ac:spMkLst>
        </pc:spChg>
        <pc:spChg chg="add del">
          <ac:chgData name="Centurione, Vittorio" userId="4ea74cf0-023b-4086-96b5-c11f6770f13d" providerId="ADAL" clId="{C79EBADB-BFD3-4A4A-842C-5D0FDEE4FD92}" dt="2020-11-02T18:01:11.300" v="207"/>
          <ac:spMkLst>
            <pc:docMk/>
            <pc:sldMk cId="87923069" sldId="20823"/>
            <ac:spMk id="49" creationId="{E0279A4F-EE2B-4B9A-86D0-7837A0B9F938}"/>
          </ac:spMkLst>
        </pc:spChg>
        <pc:spChg chg="add del">
          <ac:chgData name="Centurione, Vittorio" userId="4ea74cf0-023b-4086-96b5-c11f6770f13d" providerId="ADAL" clId="{C79EBADB-BFD3-4A4A-842C-5D0FDEE4FD92}" dt="2020-11-02T18:01:11.300" v="207"/>
          <ac:spMkLst>
            <pc:docMk/>
            <pc:sldMk cId="87923069" sldId="20823"/>
            <ac:spMk id="50" creationId="{E713A53A-27F4-45EE-9661-582A178B892B}"/>
          </ac:spMkLst>
        </pc:spChg>
        <pc:spChg chg="add del">
          <ac:chgData name="Centurione, Vittorio" userId="4ea74cf0-023b-4086-96b5-c11f6770f13d" providerId="ADAL" clId="{C79EBADB-BFD3-4A4A-842C-5D0FDEE4FD92}" dt="2020-11-02T18:01:11.300" v="207"/>
          <ac:spMkLst>
            <pc:docMk/>
            <pc:sldMk cId="87923069" sldId="20823"/>
            <ac:spMk id="51" creationId="{1DD9CB15-1A55-4B04-84C4-871EC2836D57}"/>
          </ac:spMkLst>
        </pc:spChg>
        <pc:spChg chg="add del">
          <ac:chgData name="Centurione, Vittorio" userId="4ea74cf0-023b-4086-96b5-c11f6770f13d" providerId="ADAL" clId="{C79EBADB-BFD3-4A4A-842C-5D0FDEE4FD92}" dt="2020-11-02T18:01:11.300" v="207"/>
          <ac:spMkLst>
            <pc:docMk/>
            <pc:sldMk cId="87923069" sldId="20823"/>
            <ac:spMk id="52" creationId="{CCD27EA1-433C-4A7F-858A-C689220633EC}"/>
          </ac:spMkLst>
        </pc:spChg>
        <pc:spChg chg="add del">
          <ac:chgData name="Centurione, Vittorio" userId="4ea74cf0-023b-4086-96b5-c11f6770f13d" providerId="ADAL" clId="{C79EBADB-BFD3-4A4A-842C-5D0FDEE4FD92}" dt="2020-11-02T18:01:11.300" v="207"/>
          <ac:spMkLst>
            <pc:docMk/>
            <pc:sldMk cId="87923069" sldId="20823"/>
            <ac:spMk id="54" creationId="{38E1D1FC-B7C7-44AC-A74F-E38D4B6AF6EF}"/>
          </ac:spMkLst>
        </pc:spChg>
        <pc:spChg chg="add del">
          <ac:chgData name="Centurione, Vittorio" userId="4ea74cf0-023b-4086-96b5-c11f6770f13d" providerId="ADAL" clId="{C79EBADB-BFD3-4A4A-842C-5D0FDEE4FD92}" dt="2020-11-02T18:01:11.300" v="207"/>
          <ac:spMkLst>
            <pc:docMk/>
            <pc:sldMk cId="87923069" sldId="20823"/>
            <ac:spMk id="55" creationId="{374674CD-63BA-47A8-BACF-6ED6077882E3}"/>
          </ac:spMkLst>
        </pc:spChg>
        <pc:spChg chg="add del">
          <ac:chgData name="Centurione, Vittorio" userId="4ea74cf0-023b-4086-96b5-c11f6770f13d" providerId="ADAL" clId="{C79EBADB-BFD3-4A4A-842C-5D0FDEE4FD92}" dt="2020-11-02T18:01:11.300" v="207"/>
          <ac:spMkLst>
            <pc:docMk/>
            <pc:sldMk cId="87923069" sldId="20823"/>
            <ac:spMk id="56" creationId="{218C0B45-3CCD-4146-BB06-F216C8DDA828}"/>
          </ac:spMkLst>
        </pc:spChg>
        <pc:spChg chg="add del">
          <ac:chgData name="Centurione, Vittorio" userId="4ea74cf0-023b-4086-96b5-c11f6770f13d" providerId="ADAL" clId="{C79EBADB-BFD3-4A4A-842C-5D0FDEE4FD92}" dt="2020-11-02T18:01:11.300" v="207"/>
          <ac:spMkLst>
            <pc:docMk/>
            <pc:sldMk cId="87923069" sldId="20823"/>
            <ac:spMk id="57" creationId="{39BB1EF1-5618-4763-B9C6-AF6E74FF7F23}"/>
          </ac:spMkLst>
        </pc:spChg>
        <pc:spChg chg="add del">
          <ac:chgData name="Centurione, Vittorio" userId="4ea74cf0-023b-4086-96b5-c11f6770f13d" providerId="ADAL" clId="{C79EBADB-BFD3-4A4A-842C-5D0FDEE4FD92}" dt="2020-11-02T18:01:11.300" v="207"/>
          <ac:spMkLst>
            <pc:docMk/>
            <pc:sldMk cId="87923069" sldId="20823"/>
            <ac:spMk id="58" creationId="{7E869274-E8BA-4C2B-AE8B-93DDF456759B}"/>
          </ac:spMkLst>
        </pc:spChg>
        <pc:picChg chg="add del">
          <ac:chgData name="Centurione, Vittorio" userId="4ea74cf0-023b-4086-96b5-c11f6770f13d" providerId="ADAL" clId="{C79EBADB-BFD3-4A4A-842C-5D0FDEE4FD92}" dt="2020-11-02T18:01:13.721" v="209"/>
          <ac:picMkLst>
            <pc:docMk/>
            <pc:sldMk cId="87923069" sldId="20823"/>
            <ac:picMk id="2" creationId="{E153595F-DF6A-4251-BF23-ADC0DE989A61}"/>
          </ac:picMkLst>
        </pc:picChg>
        <pc:picChg chg="add del">
          <ac:chgData name="Centurione, Vittorio" userId="4ea74cf0-023b-4086-96b5-c11f6770f13d" providerId="ADAL" clId="{C79EBADB-BFD3-4A4A-842C-5D0FDEE4FD92}" dt="2020-11-02T18:01:11.300" v="207"/>
          <ac:picMkLst>
            <pc:docMk/>
            <pc:sldMk cId="87923069" sldId="20823"/>
            <ac:picMk id="53" creationId="{649AD75B-7367-4E4A-9EBF-84DFA5B3388F}"/>
          </ac:picMkLst>
        </pc:picChg>
        <pc:picChg chg="add del">
          <ac:chgData name="Centurione, Vittorio" userId="4ea74cf0-023b-4086-96b5-c11f6770f13d" providerId="ADAL" clId="{C79EBADB-BFD3-4A4A-842C-5D0FDEE4FD92}" dt="2020-11-02T18:01:11.300" v="207"/>
          <ac:picMkLst>
            <pc:docMk/>
            <pc:sldMk cId="87923069" sldId="20823"/>
            <ac:picMk id="59" creationId="{7EB5EB26-7631-4F00-B81E-E5A42D2220E9}"/>
          </ac:picMkLst>
        </pc:picChg>
      </pc:sldChg>
      <pc:sldChg chg="modSp">
        <pc:chgData name="Centurione, Vittorio" userId="4ea74cf0-023b-4086-96b5-c11f6770f13d" providerId="ADAL" clId="{C79EBADB-BFD3-4A4A-842C-5D0FDEE4FD92}" dt="2020-11-04T10:15:06.548" v="601" actId="13926"/>
        <pc:sldMkLst>
          <pc:docMk/>
          <pc:sldMk cId="770097622" sldId="20829"/>
        </pc:sldMkLst>
        <pc:spChg chg="mod">
          <ac:chgData name="Centurione, Vittorio" userId="4ea74cf0-023b-4086-96b5-c11f6770f13d" providerId="ADAL" clId="{C79EBADB-BFD3-4A4A-842C-5D0FDEE4FD92}" dt="2020-11-04T10:15:06.548" v="601" actId="13926"/>
          <ac:spMkLst>
            <pc:docMk/>
            <pc:sldMk cId="770097622" sldId="20829"/>
            <ac:spMk id="10" creationId="{C09AE13A-46E8-4CFA-A1B9-0D1FDA1E63A4}"/>
          </ac:spMkLst>
        </pc:spChg>
      </pc:sldChg>
      <pc:sldChg chg="addSp delSp modSp add">
        <pc:chgData name="Centurione, Vittorio" userId="4ea74cf0-023b-4086-96b5-c11f6770f13d" providerId="ADAL" clId="{C79EBADB-BFD3-4A4A-842C-5D0FDEE4FD92}" dt="2020-11-01T20:19:01.118" v="189"/>
        <pc:sldMkLst>
          <pc:docMk/>
          <pc:sldMk cId="3928986494" sldId="20831"/>
        </pc:sldMkLst>
        <pc:spChg chg="add del">
          <ac:chgData name="Centurione, Vittorio" userId="4ea74cf0-023b-4086-96b5-c11f6770f13d" providerId="ADAL" clId="{C79EBADB-BFD3-4A4A-842C-5D0FDEE4FD92}" dt="2020-11-01T20:18:59.867" v="187"/>
          <ac:spMkLst>
            <pc:docMk/>
            <pc:sldMk cId="3928986494" sldId="20831"/>
            <ac:spMk id="79" creationId="{E617977C-F81D-40B2-86EF-832693D893F1}"/>
          </ac:spMkLst>
        </pc:spChg>
        <pc:spChg chg="add del">
          <ac:chgData name="Centurione, Vittorio" userId="4ea74cf0-023b-4086-96b5-c11f6770f13d" providerId="ADAL" clId="{C79EBADB-BFD3-4A4A-842C-5D0FDEE4FD92}" dt="2020-11-01T20:18:59.867" v="187"/>
          <ac:spMkLst>
            <pc:docMk/>
            <pc:sldMk cId="3928986494" sldId="20831"/>
            <ac:spMk id="81" creationId="{23A0DDA5-2499-46D2-ADBF-A3B8E00795C4}"/>
          </ac:spMkLst>
        </pc:spChg>
        <pc:spChg chg="add del">
          <ac:chgData name="Centurione, Vittorio" userId="4ea74cf0-023b-4086-96b5-c11f6770f13d" providerId="ADAL" clId="{C79EBADB-BFD3-4A4A-842C-5D0FDEE4FD92}" dt="2020-11-01T20:18:59.867" v="187"/>
          <ac:spMkLst>
            <pc:docMk/>
            <pc:sldMk cId="3928986494" sldId="20831"/>
            <ac:spMk id="82" creationId="{019BB693-B27F-4D60-BB82-B81AD8A4B93D}"/>
          </ac:spMkLst>
        </pc:spChg>
        <pc:spChg chg="add del">
          <ac:chgData name="Centurione, Vittorio" userId="4ea74cf0-023b-4086-96b5-c11f6770f13d" providerId="ADAL" clId="{C79EBADB-BFD3-4A4A-842C-5D0FDEE4FD92}" dt="2020-11-01T20:18:59.867" v="187"/>
          <ac:spMkLst>
            <pc:docMk/>
            <pc:sldMk cId="3928986494" sldId="20831"/>
            <ac:spMk id="84" creationId="{CCFA8A05-E4A3-4EB6-A176-D5BB660C834F}"/>
          </ac:spMkLst>
        </pc:spChg>
        <pc:spChg chg="add del">
          <ac:chgData name="Centurione, Vittorio" userId="4ea74cf0-023b-4086-96b5-c11f6770f13d" providerId="ADAL" clId="{C79EBADB-BFD3-4A4A-842C-5D0FDEE4FD92}" dt="2020-11-01T20:18:59.867" v="187"/>
          <ac:spMkLst>
            <pc:docMk/>
            <pc:sldMk cId="3928986494" sldId="20831"/>
            <ac:spMk id="85" creationId="{849C7C65-5E97-4A02-8F76-D50E2A18A56F}"/>
          </ac:spMkLst>
        </pc:spChg>
        <pc:spChg chg="add del">
          <ac:chgData name="Centurione, Vittorio" userId="4ea74cf0-023b-4086-96b5-c11f6770f13d" providerId="ADAL" clId="{C79EBADB-BFD3-4A4A-842C-5D0FDEE4FD92}" dt="2020-11-01T20:18:59.867" v="187"/>
          <ac:spMkLst>
            <pc:docMk/>
            <pc:sldMk cId="3928986494" sldId="20831"/>
            <ac:spMk id="87" creationId="{AE44D314-7260-4BAC-B4B3-9A508E6C9B1D}"/>
          </ac:spMkLst>
        </pc:spChg>
        <pc:spChg chg="add del">
          <ac:chgData name="Centurione, Vittorio" userId="4ea74cf0-023b-4086-96b5-c11f6770f13d" providerId="ADAL" clId="{C79EBADB-BFD3-4A4A-842C-5D0FDEE4FD92}" dt="2020-11-01T20:18:59.867" v="187"/>
          <ac:spMkLst>
            <pc:docMk/>
            <pc:sldMk cId="3928986494" sldId="20831"/>
            <ac:spMk id="88" creationId="{0D84CC07-D3F4-4330-939A-1CD81536B359}"/>
          </ac:spMkLst>
        </pc:spChg>
        <pc:spChg chg="add del">
          <ac:chgData name="Centurione, Vittorio" userId="4ea74cf0-023b-4086-96b5-c11f6770f13d" providerId="ADAL" clId="{C79EBADB-BFD3-4A4A-842C-5D0FDEE4FD92}" dt="2020-11-01T20:18:59.867" v="187"/>
          <ac:spMkLst>
            <pc:docMk/>
            <pc:sldMk cId="3928986494" sldId="20831"/>
            <ac:spMk id="90" creationId="{D3B8AB79-1AFA-47DD-AB98-FF46EC2FFA87}"/>
          </ac:spMkLst>
        </pc:spChg>
        <pc:spChg chg="add del">
          <ac:chgData name="Centurione, Vittorio" userId="4ea74cf0-023b-4086-96b5-c11f6770f13d" providerId="ADAL" clId="{C79EBADB-BFD3-4A4A-842C-5D0FDEE4FD92}" dt="2020-11-01T20:18:59.867" v="187"/>
          <ac:spMkLst>
            <pc:docMk/>
            <pc:sldMk cId="3928986494" sldId="20831"/>
            <ac:spMk id="91" creationId="{07DE7C9C-F98C-4CA5-B5F4-CD71FE1AED36}"/>
          </ac:spMkLst>
        </pc:spChg>
        <pc:spChg chg="add del">
          <ac:chgData name="Centurione, Vittorio" userId="4ea74cf0-023b-4086-96b5-c11f6770f13d" providerId="ADAL" clId="{C79EBADB-BFD3-4A4A-842C-5D0FDEE4FD92}" dt="2020-11-01T20:18:59.867" v="187"/>
          <ac:spMkLst>
            <pc:docMk/>
            <pc:sldMk cId="3928986494" sldId="20831"/>
            <ac:spMk id="93" creationId="{A9D61577-20CF-429B-BA6E-B60CE0D91195}"/>
          </ac:spMkLst>
        </pc:spChg>
        <pc:spChg chg="add del">
          <ac:chgData name="Centurione, Vittorio" userId="4ea74cf0-023b-4086-96b5-c11f6770f13d" providerId="ADAL" clId="{C79EBADB-BFD3-4A4A-842C-5D0FDEE4FD92}" dt="2020-11-01T20:18:59.867" v="187"/>
          <ac:spMkLst>
            <pc:docMk/>
            <pc:sldMk cId="3928986494" sldId="20831"/>
            <ac:spMk id="94" creationId="{97E2CB80-0490-4049-AF71-7DA98698BAA9}"/>
          </ac:spMkLst>
        </pc:spChg>
        <pc:spChg chg="add del">
          <ac:chgData name="Centurione, Vittorio" userId="4ea74cf0-023b-4086-96b5-c11f6770f13d" providerId="ADAL" clId="{C79EBADB-BFD3-4A4A-842C-5D0FDEE4FD92}" dt="2020-11-01T20:18:59.867" v="187"/>
          <ac:spMkLst>
            <pc:docMk/>
            <pc:sldMk cId="3928986494" sldId="20831"/>
            <ac:spMk id="96" creationId="{BEEA58BD-7D81-4813-AEE5-D6457521E3A6}"/>
          </ac:spMkLst>
        </pc:spChg>
        <pc:spChg chg="add del">
          <ac:chgData name="Centurione, Vittorio" userId="4ea74cf0-023b-4086-96b5-c11f6770f13d" providerId="ADAL" clId="{C79EBADB-BFD3-4A4A-842C-5D0FDEE4FD92}" dt="2020-11-01T20:18:59.867" v="187"/>
          <ac:spMkLst>
            <pc:docMk/>
            <pc:sldMk cId="3928986494" sldId="20831"/>
            <ac:spMk id="97" creationId="{19CF158E-76E8-4D69-8ADD-77089CCC8B03}"/>
          </ac:spMkLst>
        </pc:spChg>
        <pc:spChg chg="add del">
          <ac:chgData name="Centurione, Vittorio" userId="4ea74cf0-023b-4086-96b5-c11f6770f13d" providerId="ADAL" clId="{C79EBADB-BFD3-4A4A-842C-5D0FDEE4FD92}" dt="2020-11-01T20:18:59.867" v="187"/>
          <ac:spMkLst>
            <pc:docMk/>
            <pc:sldMk cId="3928986494" sldId="20831"/>
            <ac:spMk id="98" creationId="{4DA30C2C-C63B-46E9-8DEF-9E5464B6283D}"/>
          </ac:spMkLst>
        </pc:spChg>
        <pc:spChg chg="add del">
          <ac:chgData name="Centurione, Vittorio" userId="4ea74cf0-023b-4086-96b5-c11f6770f13d" providerId="ADAL" clId="{C79EBADB-BFD3-4A4A-842C-5D0FDEE4FD92}" dt="2020-11-01T20:18:59.867" v="187"/>
          <ac:spMkLst>
            <pc:docMk/>
            <pc:sldMk cId="3928986494" sldId="20831"/>
            <ac:spMk id="100" creationId="{16934AE0-6BD4-4AC8-8D3C-72B0B593324C}"/>
          </ac:spMkLst>
        </pc:spChg>
        <pc:spChg chg="add del">
          <ac:chgData name="Centurione, Vittorio" userId="4ea74cf0-023b-4086-96b5-c11f6770f13d" providerId="ADAL" clId="{C79EBADB-BFD3-4A4A-842C-5D0FDEE4FD92}" dt="2020-11-01T20:18:59.867" v="187"/>
          <ac:spMkLst>
            <pc:docMk/>
            <pc:sldMk cId="3928986494" sldId="20831"/>
            <ac:spMk id="103" creationId="{0A09B055-E2CA-4F47-B038-69D12B7E6A7F}"/>
          </ac:spMkLst>
        </pc:spChg>
        <pc:spChg chg="mod">
          <ac:chgData name="Centurione, Vittorio" userId="4ea74cf0-023b-4086-96b5-c11f6770f13d" providerId="ADAL" clId="{C79EBADB-BFD3-4A4A-842C-5D0FDEE4FD92}" dt="2020-11-01T20:00:25.240" v="28" actId="1035"/>
          <ac:spMkLst>
            <pc:docMk/>
            <pc:sldMk cId="3928986494" sldId="20831"/>
            <ac:spMk id="145" creationId="{A6442BA2-AB71-4CA8-99C2-393E8717277F}"/>
          </ac:spMkLst>
        </pc:spChg>
        <pc:spChg chg="del">
          <ac:chgData name="Centurione, Vittorio" userId="4ea74cf0-023b-4086-96b5-c11f6770f13d" providerId="ADAL" clId="{C79EBADB-BFD3-4A4A-842C-5D0FDEE4FD92}" dt="2020-11-01T20:00:19.156" v="3" actId="478"/>
          <ac:spMkLst>
            <pc:docMk/>
            <pc:sldMk cId="3928986494" sldId="20831"/>
            <ac:spMk id="146" creationId="{4A7393AF-E932-4AD1-966E-F1CA0CEEF440}"/>
          </ac:spMkLst>
        </pc:spChg>
        <pc:spChg chg="del mod">
          <ac:chgData name="Centurione, Vittorio" userId="4ea74cf0-023b-4086-96b5-c11f6770f13d" providerId="ADAL" clId="{C79EBADB-BFD3-4A4A-842C-5D0FDEE4FD92}" dt="2020-11-01T20:17:54.181" v="54" actId="478"/>
          <ac:spMkLst>
            <pc:docMk/>
            <pc:sldMk cId="3928986494" sldId="20831"/>
            <ac:spMk id="149" creationId="{7E316B85-5305-464A-8BCD-137F772C61BC}"/>
          </ac:spMkLst>
        </pc:spChg>
        <pc:spChg chg="del mod">
          <ac:chgData name="Centurione, Vittorio" userId="4ea74cf0-023b-4086-96b5-c11f6770f13d" providerId="ADAL" clId="{C79EBADB-BFD3-4A4A-842C-5D0FDEE4FD92}" dt="2020-11-01T20:17:54.181" v="54" actId="478"/>
          <ac:spMkLst>
            <pc:docMk/>
            <pc:sldMk cId="3928986494" sldId="20831"/>
            <ac:spMk id="150" creationId="{6CD4646B-91FE-42A5-80DF-487EB5F0BD88}"/>
          </ac:spMkLst>
        </pc:spChg>
        <pc:spChg chg="del mod">
          <ac:chgData name="Centurione, Vittorio" userId="4ea74cf0-023b-4086-96b5-c11f6770f13d" providerId="ADAL" clId="{C79EBADB-BFD3-4A4A-842C-5D0FDEE4FD92}" dt="2020-11-01T20:17:54.181" v="54" actId="478"/>
          <ac:spMkLst>
            <pc:docMk/>
            <pc:sldMk cId="3928986494" sldId="20831"/>
            <ac:spMk id="152" creationId="{626B5B60-A289-418B-BB18-6C07F57CC758}"/>
          </ac:spMkLst>
        </pc:spChg>
        <pc:spChg chg="del mod">
          <ac:chgData name="Centurione, Vittorio" userId="4ea74cf0-023b-4086-96b5-c11f6770f13d" providerId="ADAL" clId="{C79EBADB-BFD3-4A4A-842C-5D0FDEE4FD92}" dt="2020-11-01T20:17:54.181" v="54" actId="478"/>
          <ac:spMkLst>
            <pc:docMk/>
            <pc:sldMk cId="3928986494" sldId="20831"/>
            <ac:spMk id="154" creationId="{15EB33C6-0F26-4CA3-B3C4-49051301898E}"/>
          </ac:spMkLst>
        </pc:spChg>
        <pc:spChg chg="del mod">
          <ac:chgData name="Centurione, Vittorio" userId="4ea74cf0-023b-4086-96b5-c11f6770f13d" providerId="ADAL" clId="{C79EBADB-BFD3-4A4A-842C-5D0FDEE4FD92}" dt="2020-11-01T20:17:54.181" v="54" actId="478"/>
          <ac:spMkLst>
            <pc:docMk/>
            <pc:sldMk cId="3928986494" sldId="20831"/>
            <ac:spMk id="156" creationId="{E0809299-E413-4344-86C1-A05A96E3DD5D}"/>
          </ac:spMkLst>
        </pc:spChg>
        <pc:spChg chg="del mod">
          <ac:chgData name="Centurione, Vittorio" userId="4ea74cf0-023b-4086-96b5-c11f6770f13d" providerId="ADAL" clId="{C79EBADB-BFD3-4A4A-842C-5D0FDEE4FD92}" dt="2020-11-01T20:17:54.181" v="54" actId="478"/>
          <ac:spMkLst>
            <pc:docMk/>
            <pc:sldMk cId="3928986494" sldId="20831"/>
            <ac:spMk id="158" creationId="{3D903E90-FC2E-48BE-B401-EFE1ADE8C595}"/>
          </ac:spMkLst>
        </pc:spChg>
        <pc:spChg chg="del mod">
          <ac:chgData name="Centurione, Vittorio" userId="4ea74cf0-023b-4086-96b5-c11f6770f13d" providerId="ADAL" clId="{C79EBADB-BFD3-4A4A-842C-5D0FDEE4FD92}" dt="2020-11-01T20:17:54.181" v="54" actId="478"/>
          <ac:spMkLst>
            <pc:docMk/>
            <pc:sldMk cId="3928986494" sldId="20831"/>
            <ac:spMk id="160" creationId="{D9BA6DD9-9360-4B2E-9182-0DFF3F022291}"/>
          </ac:spMkLst>
        </pc:spChg>
        <pc:spChg chg="del mod">
          <ac:chgData name="Centurione, Vittorio" userId="4ea74cf0-023b-4086-96b5-c11f6770f13d" providerId="ADAL" clId="{C79EBADB-BFD3-4A4A-842C-5D0FDEE4FD92}" dt="2020-11-01T20:17:54.181" v="54" actId="478"/>
          <ac:spMkLst>
            <pc:docMk/>
            <pc:sldMk cId="3928986494" sldId="20831"/>
            <ac:spMk id="162" creationId="{FF7C308F-04B4-4053-AF61-0945FFC4D1F5}"/>
          </ac:spMkLst>
        </pc:spChg>
        <pc:spChg chg="del mod">
          <ac:chgData name="Centurione, Vittorio" userId="4ea74cf0-023b-4086-96b5-c11f6770f13d" providerId="ADAL" clId="{C79EBADB-BFD3-4A4A-842C-5D0FDEE4FD92}" dt="2020-11-01T20:17:54.181" v="54" actId="478"/>
          <ac:spMkLst>
            <pc:docMk/>
            <pc:sldMk cId="3928986494" sldId="20831"/>
            <ac:spMk id="164" creationId="{76D4B948-036E-4EC1-A459-3E6F0F3A8B5F}"/>
          </ac:spMkLst>
        </pc:spChg>
        <pc:spChg chg="mod">
          <ac:chgData name="Centurione, Vittorio" userId="4ea74cf0-023b-4086-96b5-c11f6770f13d" providerId="ADAL" clId="{C79EBADB-BFD3-4A4A-842C-5D0FDEE4FD92}" dt="2020-11-01T20:18:53.044" v="185" actId="1036"/>
          <ac:spMkLst>
            <pc:docMk/>
            <pc:sldMk cId="3928986494" sldId="20831"/>
            <ac:spMk id="167" creationId="{ECBED6A9-44C3-46CD-8111-1D58CEA602F1}"/>
          </ac:spMkLst>
        </pc:spChg>
        <pc:spChg chg="mod">
          <ac:chgData name="Centurione, Vittorio" userId="4ea74cf0-023b-4086-96b5-c11f6770f13d" providerId="ADAL" clId="{C79EBADB-BFD3-4A4A-842C-5D0FDEE4FD92}" dt="2020-11-01T20:18:53.044" v="185" actId="1036"/>
          <ac:spMkLst>
            <pc:docMk/>
            <pc:sldMk cId="3928986494" sldId="20831"/>
            <ac:spMk id="168" creationId="{4B069A7A-D4DE-4C6A-BAB8-788293FC070E}"/>
          </ac:spMkLst>
        </pc:spChg>
        <pc:spChg chg="del">
          <ac:chgData name="Centurione, Vittorio" userId="4ea74cf0-023b-4086-96b5-c11f6770f13d" providerId="ADAL" clId="{C79EBADB-BFD3-4A4A-842C-5D0FDEE4FD92}" dt="2020-11-01T20:00:10.485" v="1" actId="478"/>
          <ac:spMkLst>
            <pc:docMk/>
            <pc:sldMk cId="3928986494" sldId="20831"/>
            <ac:spMk id="173" creationId="{B94622E1-9C22-48BE-B6A2-31A18B38EC49}"/>
          </ac:spMkLst>
        </pc:spChg>
        <pc:spChg chg="del">
          <ac:chgData name="Centurione, Vittorio" userId="4ea74cf0-023b-4086-96b5-c11f6770f13d" providerId="ADAL" clId="{C79EBADB-BFD3-4A4A-842C-5D0FDEE4FD92}" dt="2020-11-01T20:00:10.485" v="1" actId="478"/>
          <ac:spMkLst>
            <pc:docMk/>
            <pc:sldMk cId="3928986494" sldId="20831"/>
            <ac:spMk id="190" creationId="{6677E445-B794-4287-B7DF-AD30A4402AC8}"/>
          </ac:spMkLst>
        </pc:spChg>
        <pc:spChg chg="del">
          <ac:chgData name="Centurione, Vittorio" userId="4ea74cf0-023b-4086-96b5-c11f6770f13d" providerId="ADAL" clId="{C79EBADB-BFD3-4A4A-842C-5D0FDEE4FD92}" dt="2020-11-01T20:00:10.485" v="1" actId="478"/>
          <ac:spMkLst>
            <pc:docMk/>
            <pc:sldMk cId="3928986494" sldId="20831"/>
            <ac:spMk id="191" creationId="{B3A74D5F-D9E5-4E78-A6CF-824827B83813}"/>
          </ac:spMkLst>
        </pc:spChg>
        <pc:spChg chg="mod">
          <ac:chgData name="Centurione, Vittorio" userId="4ea74cf0-023b-4086-96b5-c11f6770f13d" providerId="ADAL" clId="{C79EBADB-BFD3-4A4A-842C-5D0FDEE4FD92}" dt="2020-11-01T20:18:53.044" v="185" actId="1036"/>
          <ac:spMkLst>
            <pc:docMk/>
            <pc:sldMk cId="3928986494" sldId="20831"/>
            <ac:spMk id="194" creationId="{EEDCBE83-4F07-455C-ADF3-0643B48977D0}"/>
          </ac:spMkLst>
        </pc:spChg>
        <pc:spChg chg="del">
          <ac:chgData name="Centurione, Vittorio" userId="4ea74cf0-023b-4086-96b5-c11f6770f13d" providerId="ADAL" clId="{C79EBADB-BFD3-4A4A-842C-5D0FDEE4FD92}" dt="2020-11-01T20:00:10.485" v="1" actId="478"/>
          <ac:spMkLst>
            <pc:docMk/>
            <pc:sldMk cId="3928986494" sldId="20831"/>
            <ac:spMk id="197" creationId="{D5C8A2AA-7C8A-4D22-8D4D-F5B809F56B03}"/>
          </ac:spMkLst>
        </pc:spChg>
        <pc:spChg chg="del">
          <ac:chgData name="Centurione, Vittorio" userId="4ea74cf0-023b-4086-96b5-c11f6770f13d" providerId="ADAL" clId="{C79EBADB-BFD3-4A4A-842C-5D0FDEE4FD92}" dt="2020-11-01T20:00:10.485" v="1" actId="478"/>
          <ac:spMkLst>
            <pc:docMk/>
            <pc:sldMk cId="3928986494" sldId="20831"/>
            <ac:spMk id="198" creationId="{0EAB9BB7-AED7-446D-B9C3-5DBEB8C1334F}"/>
          </ac:spMkLst>
        </pc:spChg>
        <pc:spChg chg="del">
          <ac:chgData name="Centurione, Vittorio" userId="4ea74cf0-023b-4086-96b5-c11f6770f13d" providerId="ADAL" clId="{C79EBADB-BFD3-4A4A-842C-5D0FDEE4FD92}" dt="2020-11-01T20:00:10.485" v="1" actId="478"/>
          <ac:spMkLst>
            <pc:docMk/>
            <pc:sldMk cId="3928986494" sldId="20831"/>
            <ac:spMk id="199" creationId="{4661A1D9-16EB-4883-9CCE-6A3ED1BF18BC}"/>
          </ac:spMkLst>
        </pc:spChg>
        <pc:spChg chg="del">
          <ac:chgData name="Centurione, Vittorio" userId="4ea74cf0-023b-4086-96b5-c11f6770f13d" providerId="ADAL" clId="{C79EBADB-BFD3-4A4A-842C-5D0FDEE4FD92}" dt="2020-11-01T20:00:10.485" v="1" actId="478"/>
          <ac:spMkLst>
            <pc:docMk/>
            <pc:sldMk cId="3928986494" sldId="20831"/>
            <ac:spMk id="200" creationId="{BB9ABC72-DBF7-4F4F-ADF6-B7F324772BF8}"/>
          </ac:spMkLst>
        </pc:spChg>
        <pc:spChg chg="del">
          <ac:chgData name="Centurione, Vittorio" userId="4ea74cf0-023b-4086-96b5-c11f6770f13d" providerId="ADAL" clId="{C79EBADB-BFD3-4A4A-842C-5D0FDEE4FD92}" dt="2020-11-01T20:00:10.485" v="1" actId="478"/>
          <ac:spMkLst>
            <pc:docMk/>
            <pc:sldMk cId="3928986494" sldId="20831"/>
            <ac:spMk id="201" creationId="{AD364DFB-1AA7-40BC-A135-086AA1BD3D51}"/>
          </ac:spMkLst>
        </pc:spChg>
        <pc:spChg chg="del">
          <ac:chgData name="Centurione, Vittorio" userId="4ea74cf0-023b-4086-96b5-c11f6770f13d" providerId="ADAL" clId="{C79EBADB-BFD3-4A4A-842C-5D0FDEE4FD92}" dt="2020-11-01T20:00:10.485" v="1" actId="478"/>
          <ac:spMkLst>
            <pc:docMk/>
            <pc:sldMk cId="3928986494" sldId="20831"/>
            <ac:spMk id="202" creationId="{CD706E87-28F7-4412-A902-949DF523BAF8}"/>
          </ac:spMkLst>
        </pc:spChg>
        <pc:spChg chg="del">
          <ac:chgData name="Centurione, Vittorio" userId="4ea74cf0-023b-4086-96b5-c11f6770f13d" providerId="ADAL" clId="{C79EBADB-BFD3-4A4A-842C-5D0FDEE4FD92}" dt="2020-11-01T20:00:10.485" v="1" actId="478"/>
          <ac:spMkLst>
            <pc:docMk/>
            <pc:sldMk cId="3928986494" sldId="20831"/>
            <ac:spMk id="203" creationId="{CBEECF4F-229F-4939-8AD4-8A22C63F34C4}"/>
          </ac:spMkLst>
        </pc:spChg>
        <pc:spChg chg="mod">
          <ac:chgData name="Centurione, Vittorio" userId="4ea74cf0-023b-4086-96b5-c11f6770f13d" providerId="ADAL" clId="{C79EBADB-BFD3-4A4A-842C-5D0FDEE4FD92}" dt="2020-11-01T20:18:42.482" v="157" actId="1037"/>
          <ac:spMkLst>
            <pc:docMk/>
            <pc:sldMk cId="3928986494" sldId="20831"/>
            <ac:spMk id="204" creationId="{30ABF63C-E6B2-499F-A447-2CF166DD7EF0}"/>
          </ac:spMkLst>
        </pc:spChg>
        <pc:spChg chg="del">
          <ac:chgData name="Centurione, Vittorio" userId="4ea74cf0-023b-4086-96b5-c11f6770f13d" providerId="ADAL" clId="{C79EBADB-BFD3-4A4A-842C-5D0FDEE4FD92}" dt="2020-11-01T20:00:19.156" v="3" actId="478"/>
          <ac:spMkLst>
            <pc:docMk/>
            <pc:sldMk cId="3928986494" sldId="20831"/>
            <ac:spMk id="205" creationId="{AA401A82-7B53-4BCD-9B93-88762BEFD755}"/>
          </ac:spMkLst>
        </pc:spChg>
        <pc:spChg chg="del">
          <ac:chgData name="Centurione, Vittorio" userId="4ea74cf0-023b-4086-96b5-c11f6770f13d" providerId="ADAL" clId="{C79EBADB-BFD3-4A4A-842C-5D0FDEE4FD92}" dt="2020-11-01T20:00:19.156" v="3" actId="478"/>
          <ac:spMkLst>
            <pc:docMk/>
            <pc:sldMk cId="3928986494" sldId="20831"/>
            <ac:spMk id="206" creationId="{6691968F-61F8-4BAA-BD27-A7712090FE42}"/>
          </ac:spMkLst>
        </pc:spChg>
        <pc:spChg chg="del">
          <ac:chgData name="Centurione, Vittorio" userId="4ea74cf0-023b-4086-96b5-c11f6770f13d" providerId="ADAL" clId="{C79EBADB-BFD3-4A4A-842C-5D0FDEE4FD92}" dt="2020-11-01T20:00:12.831" v="2" actId="478"/>
          <ac:spMkLst>
            <pc:docMk/>
            <pc:sldMk cId="3928986494" sldId="20831"/>
            <ac:spMk id="210" creationId="{DDC30A6A-D451-49D3-B502-78EA25E55E82}"/>
          </ac:spMkLst>
        </pc:spChg>
        <pc:picChg chg="add del">
          <ac:chgData name="Centurione, Vittorio" userId="4ea74cf0-023b-4086-96b5-c11f6770f13d" providerId="ADAL" clId="{C79EBADB-BFD3-4A4A-842C-5D0FDEE4FD92}" dt="2020-11-01T20:19:01.118" v="189"/>
          <ac:picMkLst>
            <pc:docMk/>
            <pc:sldMk cId="3928986494" sldId="20831"/>
            <ac:picMk id="2" creationId="{4739C9DB-6F2B-41E7-BC2F-E3E521897E77}"/>
          </ac:picMkLst>
        </pc:picChg>
        <pc:picChg chg="add del">
          <ac:chgData name="Centurione, Vittorio" userId="4ea74cf0-023b-4086-96b5-c11f6770f13d" providerId="ADAL" clId="{C79EBADB-BFD3-4A4A-842C-5D0FDEE4FD92}" dt="2020-11-01T20:18:59.867" v="187"/>
          <ac:picMkLst>
            <pc:docMk/>
            <pc:sldMk cId="3928986494" sldId="20831"/>
            <ac:picMk id="74" creationId="{58A28243-C222-487A-BA98-EA3BBB2E5EFF}"/>
          </ac:picMkLst>
        </pc:picChg>
        <pc:picChg chg="add del">
          <ac:chgData name="Centurione, Vittorio" userId="4ea74cf0-023b-4086-96b5-c11f6770f13d" providerId="ADAL" clId="{C79EBADB-BFD3-4A4A-842C-5D0FDEE4FD92}" dt="2020-11-01T20:18:59.867" v="187"/>
          <ac:picMkLst>
            <pc:docMk/>
            <pc:sldMk cId="3928986494" sldId="20831"/>
            <ac:picMk id="75" creationId="{64FED14A-5631-42EB-8084-E9EAE303B23D}"/>
          </ac:picMkLst>
        </pc:picChg>
        <pc:picChg chg="add del">
          <ac:chgData name="Centurione, Vittorio" userId="4ea74cf0-023b-4086-96b5-c11f6770f13d" providerId="ADAL" clId="{C79EBADB-BFD3-4A4A-842C-5D0FDEE4FD92}" dt="2020-11-01T20:18:59.867" v="187"/>
          <ac:picMkLst>
            <pc:docMk/>
            <pc:sldMk cId="3928986494" sldId="20831"/>
            <ac:picMk id="76" creationId="{6B25FA33-2FC8-4029-AD9F-AE64A9AF349C}"/>
          </ac:picMkLst>
        </pc:picChg>
        <pc:picChg chg="add del">
          <ac:chgData name="Centurione, Vittorio" userId="4ea74cf0-023b-4086-96b5-c11f6770f13d" providerId="ADAL" clId="{C79EBADB-BFD3-4A4A-842C-5D0FDEE4FD92}" dt="2020-11-01T20:18:59.867" v="187"/>
          <ac:picMkLst>
            <pc:docMk/>
            <pc:sldMk cId="3928986494" sldId="20831"/>
            <ac:picMk id="77" creationId="{2948C586-97C5-4172-AE84-382EEC4EE5CA}"/>
          </ac:picMkLst>
        </pc:picChg>
        <pc:picChg chg="add del">
          <ac:chgData name="Centurione, Vittorio" userId="4ea74cf0-023b-4086-96b5-c11f6770f13d" providerId="ADAL" clId="{C79EBADB-BFD3-4A4A-842C-5D0FDEE4FD92}" dt="2020-11-01T20:18:59.867" v="187"/>
          <ac:picMkLst>
            <pc:docMk/>
            <pc:sldMk cId="3928986494" sldId="20831"/>
            <ac:picMk id="78" creationId="{2BB6512E-428E-47C6-93F4-A726220F5B97}"/>
          </ac:picMkLst>
        </pc:picChg>
        <pc:picChg chg="add del">
          <ac:chgData name="Centurione, Vittorio" userId="4ea74cf0-023b-4086-96b5-c11f6770f13d" providerId="ADAL" clId="{C79EBADB-BFD3-4A4A-842C-5D0FDEE4FD92}" dt="2020-11-01T20:18:59.867" v="187"/>
          <ac:picMkLst>
            <pc:docMk/>
            <pc:sldMk cId="3928986494" sldId="20831"/>
            <ac:picMk id="83" creationId="{D327273A-7E3E-4601-B13A-FAA118C19592}"/>
          </ac:picMkLst>
        </pc:picChg>
        <pc:picChg chg="add del">
          <ac:chgData name="Centurione, Vittorio" userId="4ea74cf0-023b-4086-96b5-c11f6770f13d" providerId="ADAL" clId="{C79EBADB-BFD3-4A4A-842C-5D0FDEE4FD92}" dt="2020-11-01T20:18:59.867" v="187"/>
          <ac:picMkLst>
            <pc:docMk/>
            <pc:sldMk cId="3928986494" sldId="20831"/>
            <ac:picMk id="86" creationId="{85CD640B-4412-4E80-B894-F2BC389D552E}"/>
          </ac:picMkLst>
        </pc:picChg>
        <pc:picChg chg="add del">
          <ac:chgData name="Centurione, Vittorio" userId="4ea74cf0-023b-4086-96b5-c11f6770f13d" providerId="ADAL" clId="{C79EBADB-BFD3-4A4A-842C-5D0FDEE4FD92}" dt="2020-11-01T20:18:59.867" v="187"/>
          <ac:picMkLst>
            <pc:docMk/>
            <pc:sldMk cId="3928986494" sldId="20831"/>
            <ac:picMk id="89" creationId="{B68D1E6C-E30C-4954-B492-1E267F6775A8}"/>
          </ac:picMkLst>
        </pc:picChg>
        <pc:picChg chg="add del">
          <ac:chgData name="Centurione, Vittorio" userId="4ea74cf0-023b-4086-96b5-c11f6770f13d" providerId="ADAL" clId="{C79EBADB-BFD3-4A4A-842C-5D0FDEE4FD92}" dt="2020-11-01T20:18:59.867" v="187"/>
          <ac:picMkLst>
            <pc:docMk/>
            <pc:sldMk cId="3928986494" sldId="20831"/>
            <ac:picMk id="92" creationId="{9E84C5DC-CCB4-4353-A882-8460A49E900F}"/>
          </ac:picMkLst>
        </pc:picChg>
        <pc:picChg chg="add del">
          <ac:chgData name="Centurione, Vittorio" userId="4ea74cf0-023b-4086-96b5-c11f6770f13d" providerId="ADAL" clId="{C79EBADB-BFD3-4A4A-842C-5D0FDEE4FD92}" dt="2020-11-01T20:18:59.867" v="187"/>
          <ac:picMkLst>
            <pc:docMk/>
            <pc:sldMk cId="3928986494" sldId="20831"/>
            <ac:picMk id="95" creationId="{CE359980-0B56-4C05-BA6C-45A7759DD7FB}"/>
          </ac:picMkLst>
        </pc:picChg>
        <pc:picChg chg="add del">
          <ac:chgData name="Centurione, Vittorio" userId="4ea74cf0-023b-4086-96b5-c11f6770f13d" providerId="ADAL" clId="{C79EBADB-BFD3-4A4A-842C-5D0FDEE4FD92}" dt="2020-11-01T20:18:59.867" v="187"/>
          <ac:picMkLst>
            <pc:docMk/>
            <pc:sldMk cId="3928986494" sldId="20831"/>
            <ac:picMk id="99" creationId="{FA46BFC2-69E7-4968-815C-DE8D95F3E83E}"/>
          </ac:picMkLst>
        </pc:picChg>
        <pc:picChg chg="add del">
          <ac:chgData name="Centurione, Vittorio" userId="4ea74cf0-023b-4086-96b5-c11f6770f13d" providerId="ADAL" clId="{C79EBADB-BFD3-4A4A-842C-5D0FDEE4FD92}" dt="2020-11-01T20:18:59.867" v="187"/>
          <ac:picMkLst>
            <pc:docMk/>
            <pc:sldMk cId="3928986494" sldId="20831"/>
            <ac:picMk id="101" creationId="{B6E6DB62-614C-4B1F-9F4A-EB88EF13D05C}"/>
          </ac:picMkLst>
        </pc:picChg>
        <pc:picChg chg="add del">
          <ac:chgData name="Centurione, Vittorio" userId="4ea74cf0-023b-4086-96b5-c11f6770f13d" providerId="ADAL" clId="{C79EBADB-BFD3-4A4A-842C-5D0FDEE4FD92}" dt="2020-11-01T20:18:59.867" v="187"/>
          <ac:picMkLst>
            <pc:docMk/>
            <pc:sldMk cId="3928986494" sldId="20831"/>
            <ac:picMk id="104" creationId="{6CD015DA-D145-406E-94CF-4323192D42EF}"/>
          </ac:picMkLst>
        </pc:picChg>
        <pc:picChg chg="mod modCrop">
          <ac:chgData name="Centurione, Vittorio" userId="4ea74cf0-023b-4086-96b5-c11f6770f13d" providerId="ADAL" clId="{C79EBADB-BFD3-4A4A-842C-5D0FDEE4FD92}" dt="2020-11-01T20:18:18.752" v="95" actId="732"/>
          <ac:picMkLst>
            <pc:docMk/>
            <pc:sldMk cId="3928986494" sldId="20831"/>
            <ac:picMk id="140" creationId="{14670878-0AAB-4A9D-97CE-A0C9053F5C74}"/>
          </ac:picMkLst>
        </pc:picChg>
        <pc:picChg chg="mod">
          <ac:chgData name="Centurione, Vittorio" userId="4ea74cf0-023b-4086-96b5-c11f6770f13d" providerId="ADAL" clId="{C79EBADB-BFD3-4A4A-842C-5D0FDEE4FD92}" dt="2020-11-01T20:18:27.504" v="110" actId="1038"/>
          <ac:picMkLst>
            <pc:docMk/>
            <pc:sldMk cId="3928986494" sldId="20831"/>
            <ac:picMk id="144" creationId="{3C8FD4DA-446C-4B8E-8268-F0E0157E189E}"/>
          </ac:picMkLst>
        </pc:picChg>
        <pc:picChg chg="del mod">
          <ac:chgData name="Centurione, Vittorio" userId="4ea74cf0-023b-4086-96b5-c11f6770f13d" providerId="ADAL" clId="{C79EBADB-BFD3-4A4A-842C-5D0FDEE4FD92}" dt="2020-11-01T20:17:54.181" v="54" actId="478"/>
          <ac:picMkLst>
            <pc:docMk/>
            <pc:sldMk cId="3928986494" sldId="20831"/>
            <ac:picMk id="148" creationId="{327CF5B2-2F53-4C88-BF81-ABEA95E4C2BD}"/>
          </ac:picMkLst>
        </pc:picChg>
        <pc:picChg chg="del mod">
          <ac:chgData name="Centurione, Vittorio" userId="4ea74cf0-023b-4086-96b5-c11f6770f13d" providerId="ADAL" clId="{C79EBADB-BFD3-4A4A-842C-5D0FDEE4FD92}" dt="2020-11-01T20:17:54.181" v="54" actId="478"/>
          <ac:picMkLst>
            <pc:docMk/>
            <pc:sldMk cId="3928986494" sldId="20831"/>
            <ac:picMk id="151" creationId="{9AB0B0B2-EAC3-4C1B-9258-E73BEDF98836}"/>
          </ac:picMkLst>
        </pc:picChg>
        <pc:picChg chg="del mod">
          <ac:chgData name="Centurione, Vittorio" userId="4ea74cf0-023b-4086-96b5-c11f6770f13d" providerId="ADAL" clId="{C79EBADB-BFD3-4A4A-842C-5D0FDEE4FD92}" dt="2020-11-01T20:17:54.181" v="54" actId="478"/>
          <ac:picMkLst>
            <pc:docMk/>
            <pc:sldMk cId="3928986494" sldId="20831"/>
            <ac:picMk id="153" creationId="{CE94D96D-9CB2-4B19-A81C-AE0BE91811E9}"/>
          </ac:picMkLst>
        </pc:picChg>
        <pc:picChg chg="del mod">
          <ac:chgData name="Centurione, Vittorio" userId="4ea74cf0-023b-4086-96b5-c11f6770f13d" providerId="ADAL" clId="{C79EBADB-BFD3-4A4A-842C-5D0FDEE4FD92}" dt="2020-11-01T20:17:54.181" v="54" actId="478"/>
          <ac:picMkLst>
            <pc:docMk/>
            <pc:sldMk cId="3928986494" sldId="20831"/>
            <ac:picMk id="155" creationId="{6989B85F-8C19-45A0-86A2-111E5ED6A0FF}"/>
          </ac:picMkLst>
        </pc:picChg>
        <pc:picChg chg="del mod">
          <ac:chgData name="Centurione, Vittorio" userId="4ea74cf0-023b-4086-96b5-c11f6770f13d" providerId="ADAL" clId="{C79EBADB-BFD3-4A4A-842C-5D0FDEE4FD92}" dt="2020-11-01T20:17:54.181" v="54" actId="478"/>
          <ac:picMkLst>
            <pc:docMk/>
            <pc:sldMk cId="3928986494" sldId="20831"/>
            <ac:picMk id="157" creationId="{4A6C6C5F-2D8C-4A2E-8B24-990C50FF075E}"/>
          </ac:picMkLst>
        </pc:picChg>
        <pc:picChg chg="del mod">
          <ac:chgData name="Centurione, Vittorio" userId="4ea74cf0-023b-4086-96b5-c11f6770f13d" providerId="ADAL" clId="{C79EBADB-BFD3-4A4A-842C-5D0FDEE4FD92}" dt="2020-11-01T20:17:54.181" v="54" actId="478"/>
          <ac:picMkLst>
            <pc:docMk/>
            <pc:sldMk cId="3928986494" sldId="20831"/>
            <ac:picMk id="159" creationId="{E6CBA987-B11F-4D91-A32E-01F9FC9FC978}"/>
          </ac:picMkLst>
        </pc:picChg>
        <pc:picChg chg="del mod">
          <ac:chgData name="Centurione, Vittorio" userId="4ea74cf0-023b-4086-96b5-c11f6770f13d" providerId="ADAL" clId="{C79EBADB-BFD3-4A4A-842C-5D0FDEE4FD92}" dt="2020-11-01T20:17:54.181" v="54" actId="478"/>
          <ac:picMkLst>
            <pc:docMk/>
            <pc:sldMk cId="3928986494" sldId="20831"/>
            <ac:picMk id="161" creationId="{571FA955-E4EC-4F69-B393-A2E96B5AA2E3}"/>
          </ac:picMkLst>
        </pc:picChg>
        <pc:picChg chg="del mod">
          <ac:chgData name="Centurione, Vittorio" userId="4ea74cf0-023b-4086-96b5-c11f6770f13d" providerId="ADAL" clId="{C79EBADB-BFD3-4A4A-842C-5D0FDEE4FD92}" dt="2020-11-01T20:17:54.181" v="54" actId="478"/>
          <ac:picMkLst>
            <pc:docMk/>
            <pc:sldMk cId="3928986494" sldId="20831"/>
            <ac:picMk id="163" creationId="{CD88856D-948B-44F1-AE91-7A26BACD5D67}"/>
          </ac:picMkLst>
        </pc:picChg>
        <pc:picChg chg="del mod">
          <ac:chgData name="Centurione, Vittorio" userId="4ea74cf0-023b-4086-96b5-c11f6770f13d" providerId="ADAL" clId="{C79EBADB-BFD3-4A4A-842C-5D0FDEE4FD92}" dt="2020-11-01T20:17:54.181" v="54" actId="478"/>
          <ac:picMkLst>
            <pc:docMk/>
            <pc:sldMk cId="3928986494" sldId="20831"/>
            <ac:picMk id="165" creationId="{DD1FACB4-5C77-4A28-8AD3-832DC9449A61}"/>
          </ac:picMkLst>
        </pc:picChg>
        <pc:picChg chg="del mod">
          <ac:chgData name="Centurione, Vittorio" userId="4ea74cf0-023b-4086-96b5-c11f6770f13d" providerId="ADAL" clId="{C79EBADB-BFD3-4A4A-842C-5D0FDEE4FD92}" dt="2020-11-01T20:17:54.181" v="54" actId="478"/>
          <ac:picMkLst>
            <pc:docMk/>
            <pc:sldMk cId="3928986494" sldId="20831"/>
            <ac:picMk id="166" creationId="{69CEA8F3-5132-4EEA-AD0A-EE27D8594256}"/>
          </ac:picMkLst>
        </pc:picChg>
        <pc:picChg chg="mod">
          <ac:chgData name="Centurione, Vittorio" userId="4ea74cf0-023b-4086-96b5-c11f6770f13d" providerId="ADAL" clId="{C79EBADB-BFD3-4A4A-842C-5D0FDEE4FD92}" dt="2020-11-01T20:18:53.044" v="185" actId="1036"/>
          <ac:picMkLst>
            <pc:docMk/>
            <pc:sldMk cId="3928986494" sldId="20831"/>
            <ac:picMk id="169" creationId="{E5AC604C-72F8-45E8-9C29-9AC518A2720F}"/>
          </ac:picMkLst>
        </pc:picChg>
        <pc:picChg chg="del">
          <ac:chgData name="Centurione, Vittorio" userId="4ea74cf0-023b-4086-96b5-c11f6770f13d" providerId="ADAL" clId="{C79EBADB-BFD3-4A4A-842C-5D0FDEE4FD92}" dt="2020-11-01T20:00:10.485" v="1" actId="478"/>
          <ac:picMkLst>
            <pc:docMk/>
            <pc:sldMk cId="3928986494" sldId="20831"/>
            <ac:picMk id="172" creationId="{E94935A2-ADEE-4589-8995-A1C266AC9D52}"/>
          </ac:picMkLst>
        </pc:picChg>
        <pc:picChg chg="mod">
          <ac:chgData name="Centurione, Vittorio" userId="4ea74cf0-023b-4086-96b5-c11f6770f13d" providerId="ADAL" clId="{C79EBADB-BFD3-4A4A-842C-5D0FDEE4FD92}" dt="2020-11-01T20:00:29.321" v="29" actId="108"/>
          <ac:picMkLst>
            <pc:docMk/>
            <pc:sldMk cId="3928986494" sldId="20831"/>
            <ac:picMk id="174" creationId="{AFF43340-3EC7-4876-980F-9299E52F2BFF}"/>
          </ac:picMkLst>
        </pc:picChg>
        <pc:picChg chg="del">
          <ac:chgData name="Centurione, Vittorio" userId="4ea74cf0-023b-4086-96b5-c11f6770f13d" providerId="ADAL" clId="{C79EBADB-BFD3-4A4A-842C-5D0FDEE4FD92}" dt="2020-11-01T20:00:10.485" v="1" actId="478"/>
          <ac:picMkLst>
            <pc:docMk/>
            <pc:sldMk cId="3928986494" sldId="20831"/>
            <ac:picMk id="177" creationId="{BA24E315-2CF1-49F7-8AE4-4CAB5DB9DDC2}"/>
          </ac:picMkLst>
        </pc:picChg>
        <pc:picChg chg="del">
          <ac:chgData name="Centurione, Vittorio" userId="4ea74cf0-023b-4086-96b5-c11f6770f13d" providerId="ADAL" clId="{C79EBADB-BFD3-4A4A-842C-5D0FDEE4FD92}" dt="2020-11-01T20:00:10.485" v="1" actId="478"/>
          <ac:picMkLst>
            <pc:docMk/>
            <pc:sldMk cId="3928986494" sldId="20831"/>
            <ac:picMk id="178" creationId="{C7D3ED65-D8C0-4DEA-84BD-10F7F19E0A34}"/>
          </ac:picMkLst>
        </pc:picChg>
        <pc:picChg chg="del">
          <ac:chgData name="Centurione, Vittorio" userId="4ea74cf0-023b-4086-96b5-c11f6770f13d" providerId="ADAL" clId="{C79EBADB-BFD3-4A4A-842C-5D0FDEE4FD92}" dt="2020-11-01T20:00:10.485" v="1" actId="478"/>
          <ac:picMkLst>
            <pc:docMk/>
            <pc:sldMk cId="3928986494" sldId="20831"/>
            <ac:picMk id="185" creationId="{BCF40E4B-35FF-49C3-BA0C-67D57B465E67}"/>
          </ac:picMkLst>
        </pc:picChg>
        <pc:picChg chg="del">
          <ac:chgData name="Centurione, Vittorio" userId="4ea74cf0-023b-4086-96b5-c11f6770f13d" providerId="ADAL" clId="{C79EBADB-BFD3-4A4A-842C-5D0FDEE4FD92}" dt="2020-11-01T20:00:10.485" v="1" actId="478"/>
          <ac:picMkLst>
            <pc:docMk/>
            <pc:sldMk cId="3928986494" sldId="20831"/>
            <ac:picMk id="189" creationId="{AE6E3F24-4E6C-4154-BF26-E6C25E1A2E14}"/>
          </ac:picMkLst>
        </pc:picChg>
        <pc:picChg chg="del">
          <ac:chgData name="Centurione, Vittorio" userId="4ea74cf0-023b-4086-96b5-c11f6770f13d" providerId="ADAL" clId="{C79EBADB-BFD3-4A4A-842C-5D0FDEE4FD92}" dt="2020-11-01T20:18:10.580" v="94" actId="478"/>
          <ac:picMkLst>
            <pc:docMk/>
            <pc:sldMk cId="3928986494" sldId="20831"/>
            <ac:picMk id="207" creationId="{572F83FE-5D35-4EB0-830C-4A4091716F86}"/>
          </ac:picMkLst>
        </pc:picChg>
        <pc:picChg chg="mod">
          <ac:chgData name="Centurione, Vittorio" userId="4ea74cf0-023b-4086-96b5-c11f6770f13d" providerId="ADAL" clId="{C79EBADB-BFD3-4A4A-842C-5D0FDEE4FD92}" dt="2020-11-01T20:18:27.504" v="110" actId="1038"/>
          <ac:picMkLst>
            <pc:docMk/>
            <pc:sldMk cId="3928986494" sldId="20831"/>
            <ac:picMk id="208" creationId="{0037E4A8-EA46-4A82-89D0-693EBBD2E737}"/>
          </ac:picMkLst>
        </pc:picChg>
        <pc:cxnChg chg="add del">
          <ac:chgData name="Centurione, Vittorio" userId="4ea74cf0-023b-4086-96b5-c11f6770f13d" providerId="ADAL" clId="{C79EBADB-BFD3-4A4A-842C-5D0FDEE4FD92}" dt="2020-11-01T20:18:59.867" v="187"/>
          <ac:cxnSpMkLst>
            <pc:docMk/>
            <pc:sldMk cId="3928986494" sldId="20831"/>
            <ac:cxnSpMk id="80" creationId="{D936772D-678F-4D4E-8853-14D0443DA982}"/>
          </ac:cxnSpMkLst>
        </pc:cxnChg>
        <pc:cxnChg chg="add del">
          <ac:chgData name="Centurione, Vittorio" userId="4ea74cf0-023b-4086-96b5-c11f6770f13d" providerId="ADAL" clId="{C79EBADB-BFD3-4A4A-842C-5D0FDEE4FD92}" dt="2020-11-01T20:18:59.867" v="187"/>
          <ac:cxnSpMkLst>
            <pc:docMk/>
            <pc:sldMk cId="3928986494" sldId="20831"/>
            <ac:cxnSpMk id="102" creationId="{C715594A-D9F3-426F-A326-71B1ED52DBB6}"/>
          </ac:cxnSpMkLst>
        </pc:cxnChg>
        <pc:cxnChg chg="mod">
          <ac:chgData name="Centurione, Vittorio" userId="4ea74cf0-023b-4086-96b5-c11f6770f13d" providerId="ADAL" clId="{C79EBADB-BFD3-4A4A-842C-5D0FDEE4FD92}" dt="2020-11-01T20:18:36.567" v="132" actId="14100"/>
          <ac:cxnSpMkLst>
            <pc:docMk/>
            <pc:sldMk cId="3928986494" sldId="20831"/>
            <ac:cxnSpMk id="147" creationId="{A95A9900-03A7-485C-962D-3C7858472E6A}"/>
          </ac:cxnSpMkLst>
        </pc:cxnChg>
        <pc:cxnChg chg="mod">
          <ac:chgData name="Centurione, Vittorio" userId="4ea74cf0-023b-4086-96b5-c11f6770f13d" providerId="ADAL" clId="{C79EBADB-BFD3-4A4A-842C-5D0FDEE4FD92}" dt="2020-11-01T20:18:07.336" v="93" actId="1037"/>
          <ac:cxnSpMkLst>
            <pc:docMk/>
            <pc:sldMk cId="3928986494" sldId="20831"/>
            <ac:cxnSpMk id="196" creationId="{57AD4F84-C0BF-48C9-8BBC-F1CE6D02CBBE}"/>
          </ac:cxnSpMkLst>
        </pc:cxnChg>
      </pc:sldChg>
      <pc:sldChg chg="addSp delSp modSp add">
        <pc:chgData name="Centurione, Vittorio" userId="4ea74cf0-023b-4086-96b5-c11f6770f13d" providerId="ADAL" clId="{C79EBADB-BFD3-4A4A-842C-5D0FDEE4FD92}" dt="2020-11-03T12:11:44.712" v="599" actId="1036"/>
        <pc:sldMkLst>
          <pc:docMk/>
          <pc:sldMk cId="1284562330" sldId="20832"/>
        </pc:sldMkLst>
        <pc:spChg chg="del">
          <ac:chgData name="Centurione, Vittorio" userId="4ea74cf0-023b-4086-96b5-c11f6770f13d" providerId="ADAL" clId="{C79EBADB-BFD3-4A4A-842C-5D0FDEE4FD92}" dt="2020-11-03T12:08:01.407" v="466" actId="478"/>
          <ac:spMkLst>
            <pc:docMk/>
            <pc:sldMk cId="1284562330" sldId="20832"/>
            <ac:spMk id="4" creationId="{7F507676-C992-42FD-97B6-42EE4294CAD3}"/>
          </ac:spMkLst>
        </pc:spChg>
        <pc:spChg chg="del">
          <ac:chgData name="Centurione, Vittorio" userId="4ea74cf0-023b-4086-96b5-c11f6770f13d" providerId="ADAL" clId="{C79EBADB-BFD3-4A4A-842C-5D0FDEE4FD92}" dt="2020-11-03T11:27:17.705" v="211" actId="478"/>
          <ac:spMkLst>
            <pc:docMk/>
            <pc:sldMk cId="1284562330" sldId="20832"/>
            <ac:spMk id="6" creationId="{3ED98BE0-A064-46A2-801D-3B8DC7BE48AC}"/>
          </ac:spMkLst>
        </pc:spChg>
        <pc:spChg chg="mod">
          <ac:chgData name="Centurione, Vittorio" userId="4ea74cf0-023b-4086-96b5-c11f6770f13d" providerId="ADAL" clId="{C79EBADB-BFD3-4A4A-842C-5D0FDEE4FD92}" dt="2020-11-03T12:09:03.014" v="529" actId="113"/>
          <ac:spMkLst>
            <pc:docMk/>
            <pc:sldMk cId="1284562330" sldId="20832"/>
            <ac:spMk id="10" creationId="{C09AE13A-46E8-4CFA-A1B9-0D1FDA1E63A4}"/>
          </ac:spMkLst>
        </pc:spChg>
        <pc:spChg chg="mod">
          <ac:chgData name="Centurione, Vittorio" userId="4ea74cf0-023b-4086-96b5-c11f6770f13d" providerId="ADAL" clId="{C79EBADB-BFD3-4A4A-842C-5D0FDEE4FD92}" dt="2020-11-03T12:09:57.748" v="565" actId="20577"/>
          <ac:spMkLst>
            <pc:docMk/>
            <pc:sldMk cId="1284562330" sldId="20832"/>
            <ac:spMk id="15" creationId="{D0ACAB5F-D849-418E-9B44-0C2B002A1D52}"/>
          </ac:spMkLst>
        </pc:spChg>
        <pc:spChg chg="mod">
          <ac:chgData name="Centurione, Vittorio" userId="4ea74cf0-023b-4086-96b5-c11f6770f13d" providerId="ADAL" clId="{C79EBADB-BFD3-4A4A-842C-5D0FDEE4FD92}" dt="2020-11-03T12:09:42.989" v="560" actId="113"/>
          <ac:spMkLst>
            <pc:docMk/>
            <pc:sldMk cId="1284562330" sldId="20832"/>
            <ac:spMk id="16" creationId="{9BD08DC3-E242-4DE5-AE77-8BBA34CF9174}"/>
          </ac:spMkLst>
        </pc:spChg>
        <pc:spChg chg="del">
          <ac:chgData name="Centurione, Vittorio" userId="4ea74cf0-023b-4086-96b5-c11f6770f13d" providerId="ADAL" clId="{C79EBADB-BFD3-4A4A-842C-5D0FDEE4FD92}" dt="2020-11-03T11:27:17.705" v="211" actId="478"/>
          <ac:spMkLst>
            <pc:docMk/>
            <pc:sldMk cId="1284562330" sldId="20832"/>
            <ac:spMk id="19" creationId="{415C528D-3E41-4F1B-9646-7F398EEF2FA3}"/>
          </ac:spMkLst>
        </pc:spChg>
        <pc:spChg chg="del">
          <ac:chgData name="Centurione, Vittorio" userId="4ea74cf0-023b-4086-96b5-c11f6770f13d" providerId="ADAL" clId="{C79EBADB-BFD3-4A4A-842C-5D0FDEE4FD92}" dt="2020-11-03T11:27:17.705" v="211" actId="478"/>
          <ac:spMkLst>
            <pc:docMk/>
            <pc:sldMk cId="1284562330" sldId="20832"/>
            <ac:spMk id="20" creationId="{70E56805-9CA0-4418-A857-226102879741}"/>
          </ac:spMkLst>
        </pc:spChg>
        <pc:spChg chg="del">
          <ac:chgData name="Centurione, Vittorio" userId="4ea74cf0-023b-4086-96b5-c11f6770f13d" providerId="ADAL" clId="{C79EBADB-BFD3-4A4A-842C-5D0FDEE4FD92}" dt="2020-11-03T11:27:17.705" v="211" actId="478"/>
          <ac:spMkLst>
            <pc:docMk/>
            <pc:sldMk cId="1284562330" sldId="20832"/>
            <ac:spMk id="21" creationId="{793A5DDA-BFBE-4122-B64A-1D26B78D9ACE}"/>
          </ac:spMkLst>
        </pc:spChg>
        <pc:spChg chg="del">
          <ac:chgData name="Centurione, Vittorio" userId="4ea74cf0-023b-4086-96b5-c11f6770f13d" providerId="ADAL" clId="{C79EBADB-BFD3-4A4A-842C-5D0FDEE4FD92}" dt="2020-11-03T11:27:17.705" v="211" actId="478"/>
          <ac:spMkLst>
            <pc:docMk/>
            <pc:sldMk cId="1284562330" sldId="20832"/>
            <ac:spMk id="22" creationId="{1A193F1C-099B-4CD7-9A7F-EF87B1DA0BA7}"/>
          </ac:spMkLst>
        </pc:spChg>
        <pc:spChg chg="mod">
          <ac:chgData name="Centurione, Vittorio" userId="4ea74cf0-023b-4086-96b5-c11f6770f13d" providerId="ADAL" clId="{C79EBADB-BFD3-4A4A-842C-5D0FDEE4FD92}" dt="2020-11-03T12:11:44.712" v="599" actId="1036"/>
          <ac:spMkLst>
            <pc:docMk/>
            <pc:sldMk cId="1284562330" sldId="20832"/>
            <ac:spMk id="23" creationId="{C677326A-EF9B-49C3-A16E-231A1ABBF18B}"/>
          </ac:spMkLst>
        </pc:spChg>
        <pc:spChg chg="mod">
          <ac:chgData name="Centurione, Vittorio" userId="4ea74cf0-023b-4086-96b5-c11f6770f13d" providerId="ADAL" clId="{C79EBADB-BFD3-4A4A-842C-5D0FDEE4FD92}" dt="2020-11-03T12:11:44.712" v="599" actId="1036"/>
          <ac:spMkLst>
            <pc:docMk/>
            <pc:sldMk cId="1284562330" sldId="20832"/>
            <ac:spMk id="25" creationId="{C9776A89-22DA-498B-AFF9-C3B3B4DC7658}"/>
          </ac:spMkLst>
        </pc:spChg>
        <pc:spChg chg="del">
          <ac:chgData name="Centurione, Vittorio" userId="4ea74cf0-023b-4086-96b5-c11f6770f13d" providerId="ADAL" clId="{C79EBADB-BFD3-4A4A-842C-5D0FDEE4FD92}" dt="2020-11-03T11:27:17.705" v="211" actId="478"/>
          <ac:spMkLst>
            <pc:docMk/>
            <pc:sldMk cId="1284562330" sldId="20832"/>
            <ac:spMk id="26" creationId="{166EF201-5AAC-4F16-A713-A403AE9ADBCA}"/>
          </ac:spMkLst>
        </pc:spChg>
        <pc:spChg chg="mod">
          <ac:chgData name="Centurione, Vittorio" userId="4ea74cf0-023b-4086-96b5-c11f6770f13d" providerId="ADAL" clId="{C79EBADB-BFD3-4A4A-842C-5D0FDEE4FD92}" dt="2020-11-03T12:08:04.496" v="487" actId="1035"/>
          <ac:spMkLst>
            <pc:docMk/>
            <pc:sldMk cId="1284562330" sldId="20832"/>
            <ac:spMk id="27" creationId="{08E76497-FF8D-45A0-A2EE-9A535F0797D4}"/>
          </ac:spMkLst>
        </pc:spChg>
        <pc:spChg chg="add mod">
          <ac:chgData name="Centurione, Vittorio" userId="4ea74cf0-023b-4086-96b5-c11f6770f13d" providerId="ADAL" clId="{C79EBADB-BFD3-4A4A-842C-5D0FDEE4FD92}" dt="2020-11-03T12:11:44.712" v="599" actId="1036"/>
          <ac:spMkLst>
            <pc:docMk/>
            <pc:sldMk cId="1284562330" sldId="20832"/>
            <ac:spMk id="29" creationId="{5DA8D233-A276-4F51-AB14-0DD6CBD7CEF1}"/>
          </ac:spMkLst>
        </pc:spChg>
        <pc:grpChg chg="mod">
          <ac:chgData name="Centurione, Vittorio" userId="4ea74cf0-023b-4086-96b5-c11f6770f13d" providerId="ADAL" clId="{C79EBADB-BFD3-4A4A-842C-5D0FDEE4FD92}" dt="2020-11-03T12:11:44.712" v="599" actId="1036"/>
          <ac:grpSpMkLst>
            <pc:docMk/>
            <pc:sldMk cId="1284562330" sldId="20832"/>
            <ac:grpSpMk id="7" creationId="{E030C60B-7A9D-408F-AF4C-D4A131822382}"/>
          </ac:grpSpMkLst>
        </pc:grpChg>
        <pc:grpChg chg="mod">
          <ac:chgData name="Centurione, Vittorio" userId="4ea74cf0-023b-4086-96b5-c11f6770f13d" providerId="ADAL" clId="{C79EBADB-BFD3-4A4A-842C-5D0FDEE4FD92}" dt="2020-11-03T12:11:44.712" v="599" actId="1036"/>
          <ac:grpSpMkLst>
            <pc:docMk/>
            <pc:sldMk cId="1284562330" sldId="20832"/>
            <ac:grpSpMk id="13" creationId="{34B8C1B1-BA80-4441-AD3C-8F87F0372AD1}"/>
          </ac:grpSpMkLst>
        </pc:grpChg>
        <pc:picChg chg="add del">
          <ac:chgData name="Centurione, Vittorio" userId="4ea74cf0-023b-4086-96b5-c11f6770f13d" providerId="ADAL" clId="{C79EBADB-BFD3-4A4A-842C-5D0FDEE4FD92}" dt="2020-11-03T12:08:12.010" v="490" actId="478"/>
          <ac:picMkLst>
            <pc:docMk/>
            <pc:sldMk cId="1284562330" sldId="20832"/>
            <ac:picMk id="24" creationId="{4AACC1D4-CD05-4067-A534-1AC9A1404B5A}"/>
          </ac:picMkLst>
        </pc:picChg>
        <pc:cxnChg chg="mod">
          <ac:chgData name="Centurione, Vittorio" userId="4ea74cf0-023b-4086-96b5-c11f6770f13d" providerId="ADAL" clId="{C79EBADB-BFD3-4A4A-842C-5D0FDEE4FD92}" dt="2020-11-03T12:05:28.177" v="393" actId="14100"/>
          <ac:cxnSpMkLst>
            <pc:docMk/>
            <pc:sldMk cId="1284562330" sldId="20832"/>
            <ac:cxnSpMk id="12" creationId="{34425DEE-F1AD-49F1-90E2-DD190C0333CF}"/>
          </ac:cxnSpMkLst>
        </pc:cxnChg>
        <pc:cxnChg chg="mod">
          <ac:chgData name="Centurione, Vittorio" userId="4ea74cf0-023b-4086-96b5-c11f6770f13d" providerId="ADAL" clId="{C79EBADB-BFD3-4A4A-842C-5D0FDEE4FD92}" dt="2020-11-03T11:48:47.100" v="264" actId="14100"/>
          <ac:cxnSpMkLst>
            <pc:docMk/>
            <pc:sldMk cId="1284562330" sldId="20832"/>
            <ac:cxnSpMk id="18" creationId="{742C5FAE-6B29-46AC-8AF7-73A416D957A9}"/>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2D2022-6924-4A2F-9872-FF4A1A668DD2}" type="datetimeFigureOut">
              <a:rPr lang="en-US" smtClean="0"/>
              <a:t>09/0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E384C8-84E0-4D13-9CD7-D9234DC00AE1}" type="slidenum">
              <a:rPr lang="en-US" smtClean="0"/>
              <a:t>‹#›</a:t>
            </a:fld>
            <a:endParaRPr lang="en-US"/>
          </a:p>
        </p:txBody>
      </p:sp>
    </p:spTree>
    <p:extLst>
      <p:ext uri="{BB962C8B-B14F-4D97-AF65-F5344CB8AC3E}">
        <p14:creationId xmlns:p14="http://schemas.microsoft.com/office/powerpoint/2010/main" val="3679378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135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14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364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5</a:t>
            </a:fld>
            <a:endParaRPr lang="en-US"/>
          </a:p>
        </p:txBody>
      </p:sp>
    </p:spTree>
    <p:extLst>
      <p:ext uri="{BB962C8B-B14F-4D97-AF65-F5344CB8AC3E}">
        <p14:creationId xmlns:p14="http://schemas.microsoft.com/office/powerpoint/2010/main" val="1961934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6</a:t>
            </a:fld>
            <a:endParaRPr lang="en-US"/>
          </a:p>
        </p:txBody>
      </p:sp>
    </p:spTree>
    <p:extLst>
      <p:ext uri="{BB962C8B-B14F-4D97-AF65-F5344CB8AC3E}">
        <p14:creationId xmlns:p14="http://schemas.microsoft.com/office/powerpoint/2010/main" val="703828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5955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023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261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073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25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567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782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637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637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494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764526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17024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691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26789633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2610092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3657760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147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80186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pic>
        <p:nvPicPr>
          <p:cNvPr id="3" name="Immagine 12">
            <a:extLst>
              <a:ext uri="{FF2B5EF4-FFF2-40B4-BE49-F238E27FC236}">
                <a16:creationId xmlns:a16="http://schemas.microsoft.com/office/drawing/2014/main" id="{9D13CD2A-9E12-4C19-8874-3312FC6BE24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264057" y="6202132"/>
            <a:ext cx="592375" cy="480000"/>
          </a:xfrm>
          <a:prstGeom prst="rect">
            <a:avLst/>
          </a:prstGeom>
        </p:spPr>
      </p:pic>
    </p:spTree>
    <p:extLst>
      <p:ext uri="{BB962C8B-B14F-4D97-AF65-F5344CB8AC3E}">
        <p14:creationId xmlns:p14="http://schemas.microsoft.com/office/powerpoint/2010/main" val="2651487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343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9111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661611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3573712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443476"/>
      </p:ext>
    </p:extLst>
  </p:cSld>
  <p:clrMap bg1="lt1" tx1="dk1" bg2="lt2" tx2="dk2" accent1="accent1" accent2="accent2" accent3="accent3" accent4="accent4" accent5="accent5" accent6="accent6" hlink="hlink" folHlink="folHlink"/>
  <p:sldLayoutIdLst>
    <p:sldLayoutId id="2147483783" r:id="rId1"/>
    <p:sldLayoutId id="2147483713" r:id="rId2"/>
    <p:sldLayoutId id="2147483715" r:id="rId3"/>
    <p:sldLayoutId id="2147483778" r:id="rId4"/>
    <p:sldLayoutId id="2147483784" r:id="rId5"/>
    <p:sldLayoutId id="2147483772" r:id="rId6"/>
    <p:sldLayoutId id="2147483717" r:id="rId7"/>
    <p:sldLayoutId id="2147483790"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16533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5.xml"/><Relationship Id="rId7" Type="http://schemas.openxmlformats.org/officeDocument/2006/relationships/image" Target="../media/image36.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48.jpeg"/></Relationships>
</file>

<file path=ppt/slides/_rels/slide17.xml.rels><?xml version="1.0" encoding="UTF-8" standalone="yes"?>
<Relationships xmlns="http://schemas.openxmlformats.org/package/2006/relationships"><Relationship Id="rId3" Type="http://schemas.openxmlformats.org/officeDocument/2006/relationships/image" Target="../media/image49.9E8CE6D0"/><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jpg"/><Relationship Id="rId3" Type="http://schemas.openxmlformats.org/officeDocument/2006/relationships/tags" Target="../tags/tag3.xml"/><Relationship Id="rId7" Type="http://schemas.openxmlformats.org/officeDocument/2006/relationships/image" Target="../media/image21.jpg"/><Relationship Id="rId12" Type="http://schemas.openxmlformats.org/officeDocument/2006/relationships/image" Target="../media/image26.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25.jpg"/><Relationship Id="rId5" Type="http://schemas.openxmlformats.org/officeDocument/2006/relationships/slideLayout" Target="../slideLayouts/slideLayout5.xml"/><Relationship Id="rId10" Type="http://schemas.openxmlformats.org/officeDocument/2006/relationships/image" Target="../media/image24.jpg"/><Relationship Id="rId4" Type="http://schemas.openxmlformats.org/officeDocument/2006/relationships/tags" Target="../tags/tag4.xml"/><Relationship Id="rId9" Type="http://schemas.openxmlformats.org/officeDocument/2006/relationships/image" Target="../media/image23.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5829B3-AD7A-4EF2-BD62-12C1E46D9234}"/>
              </a:ext>
            </a:extLst>
          </p:cNvPr>
          <p:cNvSpPr>
            <a:spLocks noGrp="1"/>
          </p:cNvSpPr>
          <p:nvPr>
            <p:ph type="body" sz="quarter" idx="10"/>
          </p:nvPr>
        </p:nvSpPr>
        <p:spPr>
          <a:xfrm>
            <a:off x="5077970" y="2226392"/>
            <a:ext cx="5446712" cy="477493"/>
          </a:xfrm>
        </p:spPr>
        <p:txBody>
          <a:bodyPr/>
          <a:lstStyle/>
          <a:p>
            <a:r>
              <a:rPr lang="it-IT"/>
              <a:t>NEW ROLE SCHOOLS</a:t>
            </a:r>
            <a:endParaRPr lang="en-US"/>
          </a:p>
        </p:txBody>
      </p:sp>
      <p:sp>
        <p:nvSpPr>
          <p:cNvPr id="3" name="Text Placeholder 2">
            <a:extLst>
              <a:ext uri="{FF2B5EF4-FFF2-40B4-BE49-F238E27FC236}">
                <a16:creationId xmlns:a16="http://schemas.microsoft.com/office/drawing/2014/main" id="{6A79DA09-4BFC-44D7-B023-19E4BD757F2E}"/>
              </a:ext>
            </a:extLst>
          </p:cNvPr>
          <p:cNvSpPr>
            <a:spLocks noGrp="1"/>
          </p:cNvSpPr>
          <p:nvPr>
            <p:ph type="body" sz="quarter" idx="11"/>
          </p:nvPr>
        </p:nvSpPr>
        <p:spPr>
          <a:xfrm>
            <a:off x="5077970" y="2835994"/>
            <a:ext cx="5446712" cy="477493"/>
          </a:xfrm>
        </p:spPr>
        <p:txBody>
          <a:bodyPr/>
          <a:lstStyle/>
          <a:p>
            <a:r>
              <a:rPr lang="it-IT" sz="2800" dirty="0"/>
              <a:t>DATA SCIENTIST </a:t>
            </a:r>
            <a:endParaRPr lang="en-US" sz="2800" dirty="0"/>
          </a:p>
        </p:txBody>
      </p:sp>
      <p:sp>
        <p:nvSpPr>
          <p:cNvPr id="4" name="Text Placeholder 3">
            <a:extLst>
              <a:ext uri="{FF2B5EF4-FFF2-40B4-BE49-F238E27FC236}">
                <a16:creationId xmlns:a16="http://schemas.microsoft.com/office/drawing/2014/main" id="{2676E6B7-FAA0-4F5E-9593-124CBC5AD5CA}"/>
              </a:ext>
            </a:extLst>
          </p:cNvPr>
          <p:cNvSpPr>
            <a:spLocks noGrp="1"/>
          </p:cNvSpPr>
          <p:nvPr>
            <p:ph type="body" sz="quarter" idx="12"/>
          </p:nvPr>
        </p:nvSpPr>
        <p:spPr>
          <a:xfrm>
            <a:off x="5077970" y="3667773"/>
            <a:ext cx="5446712" cy="831781"/>
          </a:xfrm>
        </p:spPr>
        <p:txBody>
          <a:bodyPr anchor="t"/>
          <a:lstStyle/>
          <a:p>
            <a:r>
              <a:rPr lang="it-IT" dirty="0">
                <a:latin typeface="Arial"/>
                <a:cs typeface="Arial"/>
              </a:rPr>
              <a:t>Edition 4 | Group 1</a:t>
            </a:r>
          </a:p>
          <a:p>
            <a:r>
              <a:rPr lang="it-IT" dirty="0">
                <a:latin typeface="Arial"/>
                <a:cs typeface="Arial"/>
              </a:rPr>
              <a:t>PROJECT WORK PRESENTATION</a:t>
            </a:r>
            <a:endParaRPr lang="en-US" dirty="0">
              <a:latin typeface="Arial"/>
              <a:cs typeface="Arial"/>
            </a:endParaRPr>
          </a:p>
        </p:txBody>
      </p:sp>
      <p:sp>
        <p:nvSpPr>
          <p:cNvPr id="11" name="Text Placeholder 10"/>
          <p:cNvSpPr>
            <a:spLocks noGrp="1"/>
          </p:cNvSpPr>
          <p:nvPr>
            <p:ph type="body" sz="quarter" idx="14"/>
          </p:nvPr>
        </p:nvSpPr>
        <p:spPr/>
        <p:txBody>
          <a:bodyPr/>
          <a:lstStyle/>
          <a:p>
            <a:r>
              <a:rPr lang="it-IT" dirty="0"/>
              <a:t>12/04/2021</a:t>
            </a:r>
          </a:p>
        </p:txBody>
      </p:sp>
      <p:sp>
        <p:nvSpPr>
          <p:cNvPr id="9" name="Text Placeholder 6">
            <a:extLst>
              <a:ext uri="{FF2B5EF4-FFF2-40B4-BE49-F238E27FC236}">
                <a16:creationId xmlns:a16="http://schemas.microsoft.com/office/drawing/2014/main" id="{A985D568-17A8-4389-8FF4-D8E90EF16C71}"/>
              </a:ext>
            </a:extLst>
          </p:cNvPr>
          <p:cNvSpPr>
            <a:spLocks noGrp="1"/>
          </p:cNvSpPr>
          <p:nvPr>
            <p:ph type="body" sz="quarter" idx="13"/>
          </p:nvPr>
        </p:nvSpPr>
        <p:spPr>
          <a:xfrm>
            <a:off x="5325222" y="6042990"/>
            <a:ext cx="3263605" cy="357810"/>
          </a:xfrm>
        </p:spPr>
        <p:txBody>
          <a:bodyPr/>
          <a:lstStyle/>
          <a:p>
            <a:r>
              <a:rPr lang="it-IT" dirty="0"/>
              <a:t>YOUR WAY TO THE FUTURE</a:t>
            </a:r>
            <a:endParaRPr lang="en-US" dirty="0"/>
          </a:p>
        </p:txBody>
      </p:sp>
    </p:spTree>
    <p:extLst>
      <p:ext uri="{BB962C8B-B14F-4D97-AF65-F5344CB8AC3E}">
        <p14:creationId xmlns:p14="http://schemas.microsoft.com/office/powerpoint/2010/main" val="3705976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think-cell" r:id="rId5" imgW="592" imgH="591" progId="TCLayout.ActiveDocument.1">
                  <p:embed/>
                </p:oleObj>
              </mc:Choice>
              <mc:Fallback>
                <p:oleObj name="Diapositiva think-cell" r:id="rId5" imgW="592" imgH="591"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p:cNvSpPr/>
          <p:nvPr/>
        </p:nvSpPr>
        <p:spPr>
          <a:xfrm>
            <a:off x="1178147" y="2895866"/>
            <a:ext cx="4267035" cy="290838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923330"/>
          </a:xfrm>
          <a:prstGeom prst="rect">
            <a:avLst/>
          </a:prstGeom>
          <a:noFill/>
        </p:spPr>
        <p:txBody>
          <a:bodyPr wrap="square" rtlCol="0">
            <a:spAutoFit/>
          </a:bodyPr>
          <a:lstStyle/>
          <a:p>
            <a:pPr algn="just">
              <a:spcAft>
                <a:spcPts val="600"/>
              </a:spcAft>
            </a:pPr>
            <a:r>
              <a:rPr lang="en-US" dirty="0"/>
              <a:t>At this point, to simplify the model, we began to reduce the number of features (we had reached over 200), trying to keep only the most significant ones. To do this we used the classic feature selection techniques (Chi-Square and F tests, Lasso regression) and our common sense.</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4</a:t>
            </a:r>
          </a:p>
        </p:txBody>
      </p:sp>
      <p:pic>
        <p:nvPicPr>
          <p:cNvPr id="4" name="Immagine 3"/>
          <p:cNvPicPr>
            <a:picLocks noChangeAspect="1"/>
          </p:cNvPicPr>
          <p:nvPr/>
        </p:nvPicPr>
        <p:blipFill>
          <a:blip r:embed="rId7"/>
          <a:stretch>
            <a:fillRect/>
          </a:stretch>
        </p:blipFill>
        <p:spPr>
          <a:xfrm>
            <a:off x="6324499" y="2526838"/>
            <a:ext cx="4247315" cy="3941152"/>
          </a:xfrm>
          <a:prstGeom prst="rect">
            <a:avLst/>
          </a:prstGeom>
        </p:spPr>
      </p:pic>
      <p:pic>
        <p:nvPicPr>
          <p:cNvPr id="9" name="Immagine 8"/>
          <p:cNvPicPr>
            <a:picLocks noChangeAspect="1"/>
          </p:cNvPicPr>
          <p:nvPr/>
        </p:nvPicPr>
        <p:blipFill>
          <a:blip r:embed="rId8"/>
          <a:stretch>
            <a:fillRect/>
          </a:stretch>
        </p:blipFill>
        <p:spPr>
          <a:xfrm>
            <a:off x="1322037" y="3136675"/>
            <a:ext cx="3964481" cy="2580652"/>
          </a:xfrm>
          <a:prstGeom prst="rect">
            <a:avLst/>
          </a:prstGeom>
        </p:spPr>
      </p:pic>
      <p:sp>
        <p:nvSpPr>
          <p:cNvPr id="5" name="CasellaDiTesto 4"/>
          <p:cNvSpPr txBox="1"/>
          <p:nvPr/>
        </p:nvSpPr>
        <p:spPr>
          <a:xfrm>
            <a:off x="1322037" y="2741977"/>
            <a:ext cx="2026580" cy="307777"/>
          </a:xfrm>
          <a:prstGeom prst="rect">
            <a:avLst/>
          </a:prstGeom>
          <a:solidFill>
            <a:schemeClr val="bg1"/>
          </a:solidFill>
        </p:spPr>
        <p:txBody>
          <a:bodyPr wrap="none" rtlCol="0">
            <a:spAutoFit/>
          </a:bodyPr>
          <a:lstStyle/>
          <a:p>
            <a:r>
              <a:rPr lang="it-IT" sz="1400" i="1" dirty="0" err="1">
                <a:solidFill>
                  <a:schemeClr val="bg1">
                    <a:lumMod val="50000"/>
                  </a:schemeClr>
                </a:solidFill>
              </a:rPr>
              <a:t>Most</a:t>
            </a:r>
            <a:r>
              <a:rPr lang="it-IT" sz="1400" i="1" dirty="0">
                <a:solidFill>
                  <a:schemeClr val="bg1">
                    <a:lumMod val="50000"/>
                  </a:schemeClr>
                </a:solidFill>
              </a:rPr>
              <a:t> </a:t>
            </a:r>
            <a:r>
              <a:rPr lang="it-IT" sz="1400" i="1" dirty="0" err="1">
                <a:solidFill>
                  <a:schemeClr val="bg1">
                    <a:lumMod val="50000"/>
                  </a:schemeClr>
                </a:solidFill>
              </a:rPr>
              <a:t>important</a:t>
            </a:r>
            <a:r>
              <a:rPr lang="it-IT" sz="1400" i="1" dirty="0">
                <a:solidFill>
                  <a:schemeClr val="bg1">
                    <a:lumMod val="50000"/>
                  </a:schemeClr>
                </a:solidFill>
              </a:rPr>
              <a:t> </a:t>
            </a:r>
            <a:r>
              <a:rPr lang="it-IT" sz="1400" i="1" dirty="0" err="1">
                <a:solidFill>
                  <a:schemeClr val="bg1">
                    <a:lumMod val="50000"/>
                  </a:schemeClr>
                </a:solidFill>
              </a:rPr>
              <a:t>features</a:t>
            </a:r>
            <a:r>
              <a:rPr lang="it-IT" sz="1400" i="1" dirty="0">
                <a:solidFill>
                  <a:schemeClr val="bg1">
                    <a:lumMod val="50000"/>
                  </a:schemeClr>
                </a:solidFill>
              </a:rPr>
              <a:t>:</a:t>
            </a:r>
          </a:p>
        </p:txBody>
      </p:sp>
      <p:sp>
        <p:nvSpPr>
          <p:cNvPr id="12" name="Rettangolo 11"/>
          <p:cNvSpPr/>
          <p:nvPr/>
        </p:nvSpPr>
        <p:spPr>
          <a:xfrm>
            <a:off x="6245841" y="2326324"/>
            <a:ext cx="4430627" cy="422425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CasellaDiTesto 12"/>
          <p:cNvSpPr txBox="1"/>
          <p:nvPr/>
        </p:nvSpPr>
        <p:spPr>
          <a:xfrm>
            <a:off x="6330026" y="2172435"/>
            <a:ext cx="3953518" cy="307777"/>
          </a:xfrm>
          <a:prstGeom prst="rect">
            <a:avLst/>
          </a:prstGeom>
          <a:solidFill>
            <a:schemeClr val="bg1"/>
          </a:solidFill>
        </p:spPr>
        <p:txBody>
          <a:bodyPr wrap="none" rtlCol="0">
            <a:spAutoFit/>
          </a:bodyPr>
          <a:lstStyle/>
          <a:p>
            <a:r>
              <a:rPr lang="en-US" sz="1400" i="1" dirty="0">
                <a:solidFill>
                  <a:schemeClr val="bg1">
                    <a:lumMod val="50000"/>
                  </a:schemeClr>
                </a:solidFill>
              </a:rPr>
              <a:t>Polarity does a good job identifying retained clients</a:t>
            </a:r>
            <a:r>
              <a:rPr lang="it-IT" sz="1400" i="1" dirty="0">
                <a:solidFill>
                  <a:schemeClr val="bg1">
                    <a:lumMod val="50000"/>
                  </a:schemeClr>
                </a:solidFill>
              </a:rPr>
              <a:t>:</a:t>
            </a:r>
          </a:p>
        </p:txBody>
      </p:sp>
      <p:sp>
        <p:nvSpPr>
          <p:cNvPr id="16" name="CasellaDiTesto 15"/>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3657336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277273"/>
          </a:xfrm>
          <a:prstGeom prst="rect">
            <a:avLst/>
          </a:prstGeom>
          <a:noFill/>
        </p:spPr>
        <p:txBody>
          <a:bodyPr wrap="square" rtlCol="0">
            <a:spAutoFit/>
          </a:bodyPr>
          <a:lstStyle/>
          <a:p>
            <a:pPr algn="just">
              <a:spcAft>
                <a:spcPts val="600"/>
              </a:spcAft>
            </a:pPr>
            <a:r>
              <a:rPr lang="en-US" dirty="0"/>
              <a:t>The last step was to train different models (Decision Tree, Random Forest, </a:t>
            </a:r>
            <a:r>
              <a:rPr lang="en-US" dirty="0" err="1"/>
              <a:t>AdaBoost</a:t>
            </a:r>
            <a:r>
              <a:rPr lang="en-US" dirty="0"/>
              <a:t> ...) using only the most important features. We obtained excellent scores - f1 over 90% - with all the models.</a:t>
            </a:r>
          </a:p>
          <a:p>
            <a:pPr algn="just">
              <a:spcAft>
                <a:spcPts val="600"/>
              </a:spcAft>
            </a:pPr>
            <a:r>
              <a:rPr lang="en-US" dirty="0"/>
              <a:t>At this point, instead of trying to obtain marginal improvements by overcomplicating the model, we preferred to opt for the simplest one, a classification tree, focusing our minds on business proposals.</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5</a:t>
            </a:r>
          </a:p>
        </p:txBody>
      </p:sp>
      <p:pic>
        <p:nvPicPr>
          <p:cNvPr id="6" name="Immagine 5"/>
          <p:cNvPicPr>
            <a:picLocks noChangeAspect="1"/>
          </p:cNvPicPr>
          <p:nvPr/>
        </p:nvPicPr>
        <p:blipFill>
          <a:blip r:embed="rId3"/>
          <a:stretch>
            <a:fillRect/>
          </a:stretch>
        </p:blipFill>
        <p:spPr>
          <a:xfrm>
            <a:off x="6259215" y="3268413"/>
            <a:ext cx="3508340" cy="2760949"/>
          </a:xfrm>
          <a:prstGeom prst="rect">
            <a:avLst/>
          </a:prstGeom>
        </p:spPr>
      </p:pic>
      <p:pic>
        <p:nvPicPr>
          <p:cNvPr id="7" name="Immagine 6"/>
          <p:cNvPicPr>
            <a:picLocks noChangeAspect="1"/>
          </p:cNvPicPr>
          <p:nvPr/>
        </p:nvPicPr>
        <p:blipFill rotWithShape="1">
          <a:blip r:embed="rId4"/>
          <a:srcRect l="59704"/>
          <a:stretch/>
        </p:blipFill>
        <p:spPr>
          <a:xfrm>
            <a:off x="2106589" y="3153129"/>
            <a:ext cx="3103179" cy="2760375"/>
          </a:xfrm>
          <a:prstGeom prst="rect">
            <a:avLst/>
          </a:prstGeom>
        </p:spPr>
      </p:pic>
      <p:sp>
        <p:nvSpPr>
          <p:cNvPr id="9" name="Rettangolo 8"/>
          <p:cNvSpPr/>
          <p:nvPr/>
        </p:nvSpPr>
        <p:spPr>
          <a:xfrm>
            <a:off x="1691148" y="2659012"/>
            <a:ext cx="8760542" cy="35451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2106589" y="2521013"/>
            <a:ext cx="3606628" cy="307777"/>
          </a:xfrm>
          <a:prstGeom prst="rect">
            <a:avLst/>
          </a:prstGeom>
          <a:solidFill>
            <a:schemeClr val="bg1"/>
          </a:solidFill>
        </p:spPr>
        <p:txBody>
          <a:bodyPr wrap="none" rtlCol="0">
            <a:spAutoFit/>
          </a:bodyPr>
          <a:lstStyle/>
          <a:p>
            <a:r>
              <a:rPr lang="it-IT" sz="1400" b="1" i="1" dirty="0" err="1">
                <a:solidFill>
                  <a:schemeClr val="bg1">
                    <a:lumMod val="50000"/>
                  </a:schemeClr>
                </a:solidFill>
              </a:rPr>
              <a:t>Final</a:t>
            </a:r>
            <a:r>
              <a:rPr lang="it-IT" sz="1400" i="1" dirty="0">
                <a:solidFill>
                  <a:schemeClr val="bg1">
                    <a:lumMod val="50000"/>
                  </a:schemeClr>
                </a:solidFill>
              </a:rPr>
              <a:t> ML </a:t>
            </a:r>
            <a:r>
              <a:rPr lang="it-IT" sz="1400" i="1" dirty="0" err="1">
                <a:solidFill>
                  <a:schemeClr val="bg1">
                    <a:lumMod val="50000"/>
                  </a:schemeClr>
                </a:solidFill>
              </a:rPr>
              <a:t>Model’s</a:t>
            </a:r>
            <a:r>
              <a:rPr lang="it-IT" sz="1400" i="1" dirty="0">
                <a:solidFill>
                  <a:schemeClr val="bg1">
                    <a:lumMod val="50000"/>
                  </a:schemeClr>
                </a:solidFill>
              </a:rPr>
              <a:t> performance (f1-score ~92%):</a:t>
            </a:r>
          </a:p>
        </p:txBody>
      </p:sp>
      <p:sp>
        <p:nvSpPr>
          <p:cNvPr id="81" name="CasellaDiTesto 80"/>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605158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B09E3917-3D86-42FA-977E-6CF5A6B665F5}"/>
              </a:ext>
            </a:extLst>
          </p:cNvPr>
          <p:cNvSpPr txBox="1">
            <a:spLocks/>
          </p:cNvSpPr>
          <p:nvPr/>
        </p:nvSpPr>
        <p:spPr>
          <a:xfrm>
            <a:off x="710229" y="4308150"/>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How do we calculate the polarity by id?</a:t>
            </a:r>
            <a:endParaRPr lang="it-IT" sz="1600" b="1" dirty="0">
              <a:solidFill>
                <a:srgbClr val="752127"/>
              </a:solidFill>
            </a:endParaRPr>
          </a:p>
        </p:txBody>
      </p:sp>
      <p:sp>
        <p:nvSpPr>
          <p:cNvPr id="3" name="Title 4">
            <a:extLst>
              <a:ext uri="{FF2B5EF4-FFF2-40B4-BE49-F238E27FC236}">
                <a16:creationId xmlns:a16="http://schemas.microsoft.com/office/drawing/2014/main" id="{B09E3917-3D86-42FA-977E-6CF5A6B665F5}"/>
              </a:ext>
            </a:extLst>
          </p:cNvPr>
          <p:cNvSpPr txBox="1">
            <a:spLocks/>
          </p:cNvSpPr>
          <p:nvPr/>
        </p:nvSpPr>
        <p:spPr>
          <a:xfrm>
            <a:off x="710229" y="4607885"/>
            <a:ext cx="7156586" cy="1138160"/>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342900" indent="-342900">
              <a:lnSpc>
                <a:spcPct val="150000"/>
              </a:lnSpc>
              <a:buAutoNum type="arabicPeriod"/>
            </a:pPr>
            <a:r>
              <a:rPr lang="en-US" sz="1600" dirty="0">
                <a:solidFill>
                  <a:srgbClr val="752127"/>
                </a:solidFill>
              </a:rPr>
              <a:t>Calculate sentiment for each tweet using </a:t>
            </a:r>
            <a:r>
              <a:rPr lang="en-US" sz="1600" dirty="0" err="1">
                <a:solidFill>
                  <a:srgbClr val="752127"/>
                </a:solidFill>
              </a:rPr>
              <a:t>TextBlob</a:t>
            </a:r>
            <a:endParaRPr lang="en-US" sz="1600" dirty="0">
              <a:solidFill>
                <a:srgbClr val="752127"/>
              </a:solidFill>
            </a:endParaRPr>
          </a:p>
          <a:p>
            <a:pPr marL="342900" indent="-342900">
              <a:lnSpc>
                <a:spcPct val="150000"/>
              </a:lnSpc>
              <a:buAutoNum type="arabicPeriod"/>
            </a:pPr>
            <a:r>
              <a:rPr lang="en-US" sz="1600" dirty="0">
                <a:solidFill>
                  <a:srgbClr val="752127"/>
                </a:solidFill>
              </a:rPr>
              <a:t>Mean of polarity by id (ID_SALES) </a:t>
            </a:r>
          </a:p>
          <a:p>
            <a:pPr marL="342900" indent="-342900">
              <a:lnSpc>
                <a:spcPct val="150000"/>
              </a:lnSpc>
              <a:buAutoNum type="arabicPeriod"/>
            </a:pPr>
            <a:r>
              <a:rPr lang="en-US" sz="1600" dirty="0">
                <a:solidFill>
                  <a:srgbClr val="752127"/>
                </a:solidFill>
              </a:rPr>
              <a:t>Fill null values with the mean sentiment </a:t>
            </a:r>
          </a:p>
          <a:p>
            <a:pPr marL="342900" indent="-342900">
              <a:buAutoNum type="arabicPeriod"/>
            </a:pPr>
            <a:endParaRPr lang="it-IT" sz="1600" dirty="0">
              <a:solidFill>
                <a:srgbClr val="752127"/>
              </a:solidFill>
            </a:endParaRPr>
          </a:p>
        </p:txBody>
      </p:sp>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Polarity</a:t>
            </a:r>
            <a:endParaRPr lang="it-IT" sz="2000" b="1" dirty="0">
              <a:solidFill>
                <a:srgbClr val="752127"/>
              </a:solidFill>
            </a:endParaRPr>
          </a:p>
        </p:txBody>
      </p:sp>
      <p:sp>
        <p:nvSpPr>
          <p:cNvPr id="5" name="Title 4">
            <a:extLst>
              <a:ext uri="{FF2B5EF4-FFF2-40B4-BE49-F238E27FC236}">
                <a16:creationId xmlns:a16="http://schemas.microsoft.com/office/drawing/2014/main" id="{B09E3917-3D86-42FA-977E-6CF5A6B665F5}"/>
              </a:ext>
            </a:extLst>
          </p:cNvPr>
          <p:cNvSpPr txBox="1">
            <a:spLocks/>
          </p:cNvSpPr>
          <p:nvPr/>
        </p:nvSpPr>
        <p:spPr>
          <a:xfrm>
            <a:off x="710229" y="1043128"/>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dirty="0">
                <a:solidFill>
                  <a:srgbClr val="752127"/>
                </a:solidFill>
              </a:rPr>
              <a:t>It is the measure of the process of analyzing the sentiment of each tweet into negative, neutral or positive.  This measure ranges from -1 to 1</a:t>
            </a:r>
          </a:p>
        </p:txBody>
      </p:sp>
      <p:sp>
        <p:nvSpPr>
          <p:cNvPr id="7" name="Title 4">
            <a:extLst>
              <a:ext uri="{FF2B5EF4-FFF2-40B4-BE49-F238E27FC236}">
                <a16:creationId xmlns:a16="http://schemas.microsoft.com/office/drawing/2014/main" id="{B09E3917-3D86-42FA-977E-6CF5A6B665F5}"/>
              </a:ext>
            </a:extLst>
          </p:cNvPr>
          <p:cNvSpPr txBox="1">
            <a:spLocks/>
          </p:cNvSpPr>
          <p:nvPr/>
        </p:nvSpPr>
        <p:spPr>
          <a:xfrm>
            <a:off x="710229" y="2287953"/>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Text cleaning</a:t>
            </a:r>
            <a:endParaRPr lang="it-IT" sz="1600" b="1" dirty="0">
              <a:solidFill>
                <a:srgbClr val="752127"/>
              </a:solidFill>
            </a:endParaRPr>
          </a:p>
        </p:txBody>
      </p:sp>
      <p:sp>
        <p:nvSpPr>
          <p:cNvPr id="8" name="Title 4">
            <a:extLst>
              <a:ext uri="{FF2B5EF4-FFF2-40B4-BE49-F238E27FC236}">
                <a16:creationId xmlns:a16="http://schemas.microsoft.com/office/drawing/2014/main" id="{B09E3917-3D86-42FA-977E-6CF5A6B665F5}"/>
              </a:ext>
            </a:extLst>
          </p:cNvPr>
          <p:cNvSpPr txBox="1">
            <a:spLocks/>
          </p:cNvSpPr>
          <p:nvPr/>
        </p:nvSpPr>
        <p:spPr>
          <a:xfrm>
            <a:off x="710229" y="2695039"/>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Wingdings" panose="05000000000000000000" pitchFamily="2" charset="2"/>
              <a:buChar char="ü"/>
            </a:pPr>
            <a:r>
              <a:rPr lang="en-US" sz="1600" dirty="0">
                <a:solidFill>
                  <a:srgbClr val="752127"/>
                </a:solidFill>
              </a:rPr>
              <a:t>Remove mentions</a:t>
            </a:r>
          </a:p>
          <a:p>
            <a:pPr marL="285750" indent="-285750">
              <a:buFont typeface="Wingdings" panose="05000000000000000000" pitchFamily="2" charset="2"/>
              <a:buChar char="ü"/>
            </a:pPr>
            <a:r>
              <a:rPr lang="en-US" sz="1600" dirty="0">
                <a:solidFill>
                  <a:srgbClr val="752127"/>
                </a:solidFill>
              </a:rPr>
              <a:t>Remove hashtag</a:t>
            </a:r>
          </a:p>
          <a:p>
            <a:pPr marL="285750" indent="-285750">
              <a:buFont typeface="Wingdings" panose="05000000000000000000" pitchFamily="2" charset="2"/>
              <a:buChar char="ü"/>
            </a:pPr>
            <a:r>
              <a:rPr lang="en-US" sz="1600" dirty="0">
                <a:solidFill>
                  <a:srgbClr val="752127"/>
                </a:solidFill>
              </a:rPr>
              <a:t>Remove retweet</a:t>
            </a:r>
          </a:p>
          <a:p>
            <a:pPr marL="285750" indent="-285750">
              <a:buFont typeface="Wingdings" panose="05000000000000000000" pitchFamily="2" charset="2"/>
              <a:buChar char="ü"/>
            </a:pPr>
            <a:r>
              <a:rPr lang="en-US" sz="1600" dirty="0">
                <a:solidFill>
                  <a:srgbClr val="752127"/>
                </a:solidFill>
              </a:rPr>
              <a:t>Remove hyperlink</a:t>
            </a:r>
          </a:p>
          <a:p>
            <a:pPr marL="285750" indent="-285750">
              <a:buFont typeface="Wingdings" panose="05000000000000000000" pitchFamily="2" charset="2"/>
              <a:buChar char="ü"/>
            </a:pPr>
            <a:r>
              <a:rPr lang="en-US" sz="1600" dirty="0">
                <a:solidFill>
                  <a:srgbClr val="752127"/>
                </a:solidFill>
              </a:rPr>
              <a:t>Remove all distinct to words (ex: emoticons)</a:t>
            </a:r>
          </a:p>
        </p:txBody>
      </p:sp>
    </p:spTree>
    <p:extLst>
      <p:ext uri="{BB962C8B-B14F-4D97-AF65-F5344CB8AC3E}">
        <p14:creationId xmlns:p14="http://schemas.microsoft.com/office/powerpoint/2010/main" val="32667836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 vs Retention</a:t>
            </a:r>
          </a:p>
        </p:txBody>
      </p:sp>
      <p:pic>
        <p:nvPicPr>
          <p:cNvPr id="4" name="Imagen 3"/>
          <p:cNvPicPr>
            <a:picLocks noChangeAspect="1"/>
          </p:cNvPicPr>
          <p:nvPr/>
        </p:nvPicPr>
        <p:blipFill>
          <a:blip r:embed="rId3"/>
          <a:stretch>
            <a:fillRect/>
          </a:stretch>
        </p:blipFill>
        <p:spPr>
          <a:xfrm>
            <a:off x="408164" y="1112661"/>
            <a:ext cx="6204372" cy="3786187"/>
          </a:xfrm>
          <a:prstGeom prst="rect">
            <a:avLst/>
          </a:prstGeom>
        </p:spPr>
      </p:pic>
      <p:pic>
        <p:nvPicPr>
          <p:cNvPr id="2" name="Imagen 1"/>
          <p:cNvPicPr>
            <a:picLocks noChangeAspect="1"/>
          </p:cNvPicPr>
          <p:nvPr/>
        </p:nvPicPr>
        <p:blipFill>
          <a:blip r:embed="rId4"/>
          <a:stretch>
            <a:fillRect/>
          </a:stretch>
        </p:blipFill>
        <p:spPr>
          <a:xfrm>
            <a:off x="5824526" y="2097535"/>
            <a:ext cx="5644974" cy="1582643"/>
          </a:xfrm>
          <a:prstGeom prst="rect">
            <a:avLst/>
          </a:prstGeom>
        </p:spPr>
      </p:pic>
      <p:sp>
        <p:nvSpPr>
          <p:cNvPr id="5" name="Flecha abajo 4"/>
          <p:cNvSpPr/>
          <p:nvPr/>
        </p:nvSpPr>
        <p:spPr>
          <a:xfrm>
            <a:off x="3363099" y="1043338"/>
            <a:ext cx="382566" cy="55809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117258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a:t>
            </a:r>
          </a:p>
        </p:txBody>
      </p:sp>
      <p:pic>
        <p:nvPicPr>
          <p:cNvPr id="3" name="Imagen 2"/>
          <p:cNvPicPr>
            <a:picLocks noChangeAspect="1"/>
          </p:cNvPicPr>
          <p:nvPr/>
        </p:nvPicPr>
        <p:blipFill>
          <a:blip r:embed="rId3"/>
          <a:stretch>
            <a:fillRect/>
          </a:stretch>
        </p:blipFill>
        <p:spPr>
          <a:xfrm>
            <a:off x="710229" y="1956681"/>
            <a:ext cx="2971800" cy="1838325"/>
          </a:xfrm>
          <a:prstGeom prst="rect">
            <a:avLst/>
          </a:prstGeom>
        </p:spPr>
      </p:pic>
      <p:sp>
        <p:nvSpPr>
          <p:cNvPr id="7" name="Title 4">
            <a:extLst>
              <a:ext uri="{FF2B5EF4-FFF2-40B4-BE49-F238E27FC236}">
                <a16:creationId xmlns:a16="http://schemas.microsoft.com/office/drawing/2014/main" id="{B09E3917-3D86-42FA-977E-6CF5A6B665F5}"/>
              </a:ext>
            </a:extLst>
          </p:cNvPr>
          <p:cNvSpPr txBox="1">
            <a:spLocks/>
          </p:cNvSpPr>
          <p:nvPr/>
        </p:nvSpPr>
        <p:spPr>
          <a:xfrm>
            <a:off x="710229" y="1503441"/>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Air</a:t>
            </a:r>
          </a:p>
        </p:txBody>
      </p:sp>
      <p:sp>
        <p:nvSpPr>
          <p:cNvPr id="8" name="Title 4">
            <a:extLst>
              <a:ext uri="{FF2B5EF4-FFF2-40B4-BE49-F238E27FC236}">
                <a16:creationId xmlns:a16="http://schemas.microsoft.com/office/drawing/2014/main" id="{B09E3917-3D86-42FA-977E-6CF5A6B665F5}"/>
              </a:ext>
            </a:extLst>
          </p:cNvPr>
          <p:cNvSpPr txBox="1">
            <a:spLocks/>
          </p:cNvSpPr>
          <p:nvPr/>
        </p:nvSpPr>
        <p:spPr>
          <a:xfrm>
            <a:off x="4373286" y="1503440"/>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Train</a:t>
            </a:r>
          </a:p>
        </p:txBody>
      </p:sp>
      <p:pic>
        <p:nvPicPr>
          <p:cNvPr id="5" name="Imagen 4"/>
          <p:cNvPicPr>
            <a:picLocks noChangeAspect="1"/>
          </p:cNvPicPr>
          <p:nvPr/>
        </p:nvPicPr>
        <p:blipFill>
          <a:blip r:embed="rId4"/>
          <a:stretch>
            <a:fillRect/>
          </a:stretch>
        </p:blipFill>
        <p:spPr>
          <a:xfrm>
            <a:off x="4373286" y="1956681"/>
            <a:ext cx="2924175" cy="1771650"/>
          </a:xfrm>
          <a:prstGeom prst="rect">
            <a:avLst/>
          </a:prstGeom>
        </p:spPr>
      </p:pic>
      <p:sp>
        <p:nvSpPr>
          <p:cNvPr id="10" name="Title 4">
            <a:extLst>
              <a:ext uri="{FF2B5EF4-FFF2-40B4-BE49-F238E27FC236}">
                <a16:creationId xmlns:a16="http://schemas.microsoft.com/office/drawing/2014/main" id="{B09E3917-3D86-42FA-977E-6CF5A6B665F5}"/>
              </a:ext>
            </a:extLst>
          </p:cNvPr>
          <p:cNvSpPr txBox="1">
            <a:spLocks/>
          </p:cNvSpPr>
          <p:nvPr/>
        </p:nvSpPr>
        <p:spPr>
          <a:xfrm>
            <a:off x="8042078" y="1503440"/>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Bus</a:t>
            </a:r>
          </a:p>
        </p:txBody>
      </p:sp>
      <p:pic>
        <p:nvPicPr>
          <p:cNvPr id="6" name="Imagen 5"/>
          <p:cNvPicPr>
            <a:picLocks noChangeAspect="1"/>
          </p:cNvPicPr>
          <p:nvPr/>
        </p:nvPicPr>
        <p:blipFill>
          <a:blip r:embed="rId5"/>
          <a:stretch>
            <a:fillRect/>
          </a:stretch>
        </p:blipFill>
        <p:spPr>
          <a:xfrm>
            <a:off x="7988719" y="1956681"/>
            <a:ext cx="2924175" cy="1771650"/>
          </a:xfrm>
          <a:prstGeom prst="rect">
            <a:avLst/>
          </a:prstGeom>
        </p:spPr>
      </p:pic>
      <p:sp>
        <p:nvSpPr>
          <p:cNvPr id="12" name="Title 4">
            <a:extLst>
              <a:ext uri="{FF2B5EF4-FFF2-40B4-BE49-F238E27FC236}">
                <a16:creationId xmlns:a16="http://schemas.microsoft.com/office/drawing/2014/main" id="{B09E3917-3D86-42FA-977E-6CF5A6B665F5}"/>
              </a:ext>
            </a:extLst>
          </p:cNvPr>
          <p:cNvSpPr txBox="1">
            <a:spLocks/>
          </p:cNvSpPr>
          <p:nvPr/>
        </p:nvSpPr>
        <p:spPr>
          <a:xfrm>
            <a:off x="710229" y="4404122"/>
            <a:ext cx="2518394" cy="1177223"/>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lnSpc>
                <a:spcPct val="200000"/>
              </a:lnSpc>
              <a:buFont typeface="Arial" panose="020B0604020202020204" pitchFamily="34" charset="0"/>
              <a:buChar char="•"/>
            </a:pPr>
            <a:r>
              <a:rPr lang="it-IT" sz="1600" b="1" dirty="0">
                <a:solidFill>
                  <a:srgbClr val="752127"/>
                </a:solidFill>
              </a:rPr>
              <a:t>Late flights </a:t>
            </a:r>
          </a:p>
          <a:p>
            <a:pPr marL="285750" indent="-285750">
              <a:lnSpc>
                <a:spcPct val="200000"/>
              </a:lnSpc>
              <a:buFont typeface="Arial" panose="020B0604020202020204" pitchFamily="34" charset="0"/>
              <a:buChar char="•"/>
            </a:pPr>
            <a:r>
              <a:rPr lang="it-IT" sz="1600" b="1" dirty="0">
                <a:solidFill>
                  <a:srgbClr val="752127"/>
                </a:solidFill>
              </a:rPr>
              <a:t>Customer service</a:t>
            </a:r>
          </a:p>
          <a:p>
            <a:pPr marL="285750" indent="-285750">
              <a:lnSpc>
                <a:spcPct val="200000"/>
              </a:lnSpc>
              <a:buFont typeface="Arial" panose="020B0604020202020204" pitchFamily="34" charset="0"/>
              <a:buChar char="•"/>
            </a:pPr>
            <a:r>
              <a:rPr lang="it-IT" sz="1600" b="1" dirty="0">
                <a:solidFill>
                  <a:srgbClr val="752127"/>
                </a:solidFill>
              </a:rPr>
              <a:t>Problems with bags </a:t>
            </a:r>
          </a:p>
        </p:txBody>
      </p:sp>
      <p:sp>
        <p:nvSpPr>
          <p:cNvPr id="11" name="Rectangle: Rounded Corners 10">
            <a:extLst>
              <a:ext uri="{FF2B5EF4-FFF2-40B4-BE49-F238E27FC236}">
                <a16:creationId xmlns:a16="http://schemas.microsoft.com/office/drawing/2014/main" id="{095A96BA-6885-46C5-8BD2-94E222067E5B}"/>
              </a:ext>
            </a:extLst>
          </p:cNvPr>
          <p:cNvSpPr/>
          <p:nvPr/>
        </p:nvSpPr>
        <p:spPr>
          <a:xfrm>
            <a:off x="9349274" y="237034"/>
            <a:ext cx="2379305"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revise </a:t>
            </a:r>
            <a:r>
              <a:rPr lang="en-US" dirty="0" err="1"/>
              <a:t>wordcloud</a:t>
            </a:r>
            <a:r>
              <a:rPr lang="en-US" dirty="0"/>
              <a:t>?</a:t>
            </a:r>
          </a:p>
        </p:txBody>
      </p:sp>
    </p:spTree>
    <p:extLst>
      <p:ext uri="{BB962C8B-B14F-4D97-AF65-F5344CB8AC3E}">
        <p14:creationId xmlns:p14="http://schemas.microsoft.com/office/powerpoint/2010/main" val="1068804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pic>
        <p:nvPicPr>
          <p:cNvPr id="9" name="Picture 8" descr="A picture containing text, device&#10;&#10;Description automatically generated">
            <a:extLst>
              <a:ext uri="{FF2B5EF4-FFF2-40B4-BE49-F238E27FC236}">
                <a16:creationId xmlns:a16="http://schemas.microsoft.com/office/drawing/2014/main" id="{FAEB93A2-4188-4871-86E7-37911CF567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9937" y="4745025"/>
            <a:ext cx="3142143" cy="1897069"/>
          </a:xfrm>
          <a:prstGeom prst="rect">
            <a:avLst/>
          </a:prstGeom>
        </p:spPr>
      </p:pic>
      <p:sp>
        <p:nvSpPr>
          <p:cNvPr id="10" name="Rechteck 14">
            <a:extLst>
              <a:ext uri="{FF2B5EF4-FFF2-40B4-BE49-F238E27FC236}">
                <a16:creationId xmlns:a16="http://schemas.microsoft.com/office/drawing/2014/main" id="{D06B01D6-F743-430B-89EC-48D3609C7633}"/>
              </a:ext>
            </a:extLst>
          </p:cNvPr>
          <p:cNvSpPr>
            <a:spLocks noChangeArrowheads="1"/>
          </p:cNvSpPr>
          <p:nvPr/>
        </p:nvSpPr>
        <p:spPr bwMode="auto">
          <a:xfrm>
            <a:off x="716877" y="2042743"/>
            <a:ext cx="450826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dirty="0">
                <a:solidFill>
                  <a:srgbClr val="000000"/>
                </a:solidFill>
              </a:rPr>
              <a:t>Send out a survey (NPS) after each trip to assess customer satisfaction level on different aspects of the trip</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Use quantitative (scores) and qualitative (comments) feedback to predict the retention for that trip &amp; school</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Set-up a governance to periodically analyze NPS results : identify areas of excellence and improvement and deduct concrete actions</a:t>
            </a:r>
          </a:p>
          <a:p>
            <a:pPr lvl="1" algn="just" eaLnBrk="1" hangingPunct="1">
              <a:buClr>
                <a:srgbClr val="C21C1D"/>
              </a:buClr>
            </a:pPr>
            <a:endParaRPr lang="de-DE" altLang="de-DE" sz="1500" dirty="0">
              <a:solidFill>
                <a:srgbClr val="000000"/>
              </a:solidFill>
            </a:endParaRPr>
          </a:p>
        </p:txBody>
      </p:sp>
      <p:sp>
        <p:nvSpPr>
          <p:cNvPr id="11" name="Textfeld 13">
            <a:extLst>
              <a:ext uri="{FF2B5EF4-FFF2-40B4-BE49-F238E27FC236}">
                <a16:creationId xmlns:a16="http://schemas.microsoft.com/office/drawing/2014/main" id="{6CE4C5DA-03D9-4636-9801-FA096C6CD915}"/>
              </a:ext>
            </a:extLst>
          </p:cNvPr>
          <p:cNvSpPr txBox="1"/>
          <p:nvPr/>
        </p:nvSpPr>
        <p:spPr>
          <a:xfrm>
            <a:off x="716877" y="1560943"/>
            <a:ext cx="2743200" cy="369332"/>
          </a:xfrm>
          <a:prstGeom prst="rect">
            <a:avLst/>
          </a:prstGeom>
          <a:noFill/>
        </p:spPr>
        <p:txBody>
          <a:bodyPr wrap="square" rtlCol="0">
            <a:spAutoFit/>
          </a:bodyPr>
          <a:lstStyle/>
          <a:p>
            <a:r>
              <a:rPr lang="de-DE" b="1" dirty="0"/>
              <a:t>Polarity is a key predictor</a:t>
            </a:r>
          </a:p>
        </p:txBody>
      </p:sp>
      <p:sp>
        <p:nvSpPr>
          <p:cNvPr id="20" name="Textfeld 13">
            <a:extLst>
              <a:ext uri="{FF2B5EF4-FFF2-40B4-BE49-F238E27FC236}">
                <a16:creationId xmlns:a16="http://schemas.microsoft.com/office/drawing/2014/main" id="{5D9334AC-F180-4FFB-BAB2-47F35FF37228}"/>
              </a:ext>
            </a:extLst>
          </p:cNvPr>
          <p:cNvSpPr txBox="1"/>
          <p:nvPr/>
        </p:nvSpPr>
        <p:spPr>
          <a:xfrm>
            <a:off x="5907980" y="1560943"/>
            <a:ext cx="2743200" cy="369332"/>
          </a:xfrm>
          <a:prstGeom prst="rect">
            <a:avLst/>
          </a:prstGeom>
          <a:noFill/>
        </p:spPr>
        <p:txBody>
          <a:bodyPr wrap="square" rtlCol="0">
            <a:spAutoFit/>
          </a:bodyPr>
          <a:lstStyle/>
          <a:p>
            <a:r>
              <a:rPr lang="de-DE" b="1" dirty="0"/>
              <a:t>Word of mouth</a:t>
            </a:r>
          </a:p>
        </p:txBody>
      </p:sp>
      <p:sp>
        <p:nvSpPr>
          <p:cNvPr id="21" name="Rechteck 14">
            <a:extLst>
              <a:ext uri="{FF2B5EF4-FFF2-40B4-BE49-F238E27FC236}">
                <a16:creationId xmlns:a16="http://schemas.microsoft.com/office/drawing/2014/main" id="{005AC3B7-08D3-4742-81B9-225966CB90CA}"/>
              </a:ext>
            </a:extLst>
          </p:cNvPr>
          <p:cNvSpPr>
            <a:spLocks noChangeArrowheads="1"/>
          </p:cNvSpPr>
          <p:nvPr/>
        </p:nvSpPr>
        <p:spPr bwMode="auto">
          <a:xfrm>
            <a:off x="5907980" y="2057266"/>
            <a:ext cx="4831555"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b="1" dirty="0">
                <a:solidFill>
                  <a:srgbClr val="000000"/>
                </a:solidFill>
              </a:rPr>
              <a:t>Sponsor „a friend“</a:t>
            </a:r>
          </a:p>
          <a:p>
            <a:pPr marL="0" lvl="1" indent="0" algn="just" eaLnBrk="1" hangingPunct="1">
              <a:buClr>
                <a:srgbClr val="C21C1D"/>
              </a:buClr>
              <a:buNone/>
            </a:pPr>
            <a:r>
              <a:rPr lang="de-DE" altLang="de-DE" sz="1500" dirty="0">
                <a:solidFill>
                  <a:srgbClr val="000000"/>
                </a:solidFill>
              </a:rPr>
              <a:t>The school can invite another school to sign up for a new trip. If it does, they will get a discount of 10% on next subscription</a:t>
            </a:r>
          </a:p>
          <a:p>
            <a:pPr marL="0" lvl="1" indent="0" algn="just" eaLnBrk="1" hangingPunct="1">
              <a:buClr>
                <a:srgbClr val="C21C1D"/>
              </a:buClr>
              <a:buNone/>
            </a:pPr>
            <a:endParaRPr lang="de-DE" altLang="de-DE" sz="1500" dirty="0">
              <a:solidFill>
                <a:srgbClr val="000000"/>
              </a:solidFill>
            </a:endParaRPr>
          </a:p>
          <a:p>
            <a:pPr lvl="1" algn="just" eaLnBrk="1" hangingPunct="1">
              <a:buClr>
                <a:srgbClr val="C21C1D"/>
              </a:buClr>
            </a:pPr>
            <a:r>
              <a:rPr lang="de-DE" altLang="de-DE" sz="1500" b="1" dirty="0">
                <a:solidFill>
                  <a:srgbClr val="000000"/>
                </a:solidFill>
              </a:rPr>
              <a:t>Work with ambassadors</a:t>
            </a:r>
          </a:p>
          <a:p>
            <a:pPr marL="0" lvl="1" indent="0" algn="just" eaLnBrk="1" hangingPunct="1">
              <a:buClr>
                <a:srgbClr val="C21C1D"/>
              </a:buClr>
              <a:buNone/>
            </a:pPr>
            <a:r>
              <a:rPr lang="de-DE" altLang="de-DE" sz="1500" dirty="0">
                <a:solidFill>
                  <a:srgbClr val="000000"/>
                </a:solidFill>
              </a:rPr>
              <a:t>Ask the best scoring NPS if they want to testify about their experience and use it on your website</a:t>
            </a:r>
          </a:p>
          <a:p>
            <a:pPr marL="0" lvl="1" indent="0" algn="just" eaLnBrk="1" hangingPunct="1">
              <a:buClr>
                <a:srgbClr val="C21C1D"/>
              </a:buClr>
              <a:buNone/>
            </a:pPr>
            <a:endParaRPr lang="de-DE" altLang="de-DE" sz="1500" dirty="0">
              <a:solidFill>
                <a:srgbClr val="000000"/>
              </a:solidFill>
            </a:endParaRPr>
          </a:p>
        </p:txBody>
      </p:sp>
      <p:pic>
        <p:nvPicPr>
          <p:cNvPr id="2050" name="Picture 2" descr="New discount codes">
            <a:extLst>
              <a:ext uri="{FF2B5EF4-FFF2-40B4-BE49-F238E27FC236}">
                <a16:creationId xmlns:a16="http://schemas.microsoft.com/office/drawing/2014/main" id="{03716FA6-54A9-47AA-973D-170AA3EC46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08838">
            <a:off x="7516469" y="4766690"/>
            <a:ext cx="2329722" cy="1129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74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sp>
        <p:nvSpPr>
          <p:cNvPr id="12" name="Rechteck 14">
            <a:extLst>
              <a:ext uri="{FF2B5EF4-FFF2-40B4-BE49-F238E27FC236}">
                <a16:creationId xmlns:a16="http://schemas.microsoft.com/office/drawing/2014/main" id="{40679165-B782-4365-8DEA-809489E778C1}"/>
              </a:ext>
            </a:extLst>
          </p:cNvPr>
          <p:cNvSpPr>
            <a:spLocks noChangeArrowheads="1"/>
          </p:cNvSpPr>
          <p:nvPr/>
        </p:nvSpPr>
        <p:spPr bwMode="auto">
          <a:xfrm>
            <a:off x="6403149" y="2035402"/>
            <a:ext cx="363387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In real life, tweets cannot easily be linked to a specific trip</a:t>
            </a:r>
          </a:p>
          <a:p>
            <a:pPr lvl="1" eaLnBrk="1" hangingPunct="1">
              <a:buClr>
                <a:srgbClr val="C21C1D"/>
              </a:buClr>
            </a:pPr>
            <a:r>
              <a:rPr lang="de-DE" altLang="de-DE" sz="1500" dirty="0">
                <a:solidFill>
                  <a:srgbClr val="000000"/>
                </a:solidFill>
              </a:rPr>
              <a:t>GDPR and data privacy</a:t>
            </a:r>
          </a:p>
          <a:p>
            <a:pPr lvl="1" eaLnBrk="1" hangingPunct="1">
              <a:buClr>
                <a:srgbClr val="C21C1D"/>
              </a:buClr>
            </a:pPr>
            <a:r>
              <a:rPr lang="de-DE" altLang="de-DE" sz="1500" dirty="0">
                <a:solidFill>
                  <a:srgbClr val="000000"/>
                </a:solidFill>
              </a:rPr>
              <a:t>NPS survey is linked to specific trip and not anonymous</a:t>
            </a:r>
          </a:p>
          <a:p>
            <a:pPr lvl="1" eaLnBrk="1" hangingPunct="1">
              <a:buClr>
                <a:srgbClr val="C21C1D"/>
              </a:buClr>
            </a:pPr>
            <a:endParaRPr lang="de-DE" altLang="de-DE" sz="1500" dirty="0">
              <a:solidFill>
                <a:srgbClr val="000000"/>
              </a:solidFill>
            </a:endParaRPr>
          </a:p>
        </p:txBody>
      </p:sp>
      <p:pic>
        <p:nvPicPr>
          <p:cNvPr id="1026" name="Picture 2" descr="attention clipart">
            <a:extLst>
              <a:ext uri="{FF2B5EF4-FFF2-40B4-BE49-F238E27FC236}">
                <a16:creationId xmlns:a16="http://schemas.microsoft.com/office/drawing/2014/main" id="{38FADE45-9CD4-4C05-B8D4-36FAD54AA7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0585" y="1745005"/>
            <a:ext cx="696410" cy="5807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3">
            <a:extLst>
              <a:ext uri="{FF2B5EF4-FFF2-40B4-BE49-F238E27FC236}">
                <a16:creationId xmlns:a16="http://schemas.microsoft.com/office/drawing/2014/main" id="{AB92BE45-4F6E-46D9-A422-D9F962E98A79}"/>
              </a:ext>
            </a:extLst>
          </p:cNvPr>
          <p:cNvSpPr txBox="1"/>
          <p:nvPr/>
        </p:nvSpPr>
        <p:spPr>
          <a:xfrm>
            <a:off x="710229" y="1381863"/>
            <a:ext cx="2743200" cy="369332"/>
          </a:xfrm>
          <a:prstGeom prst="rect">
            <a:avLst/>
          </a:prstGeom>
          <a:noFill/>
        </p:spPr>
        <p:txBody>
          <a:bodyPr wrap="square" rtlCol="0">
            <a:spAutoFit/>
          </a:bodyPr>
          <a:lstStyle/>
          <a:p>
            <a:r>
              <a:rPr lang="de-DE" b="1" dirty="0"/>
              <a:t>Area for improvements</a:t>
            </a:r>
          </a:p>
        </p:txBody>
      </p:sp>
      <p:sp>
        <p:nvSpPr>
          <p:cNvPr id="17" name="Textfeld 13">
            <a:extLst>
              <a:ext uri="{FF2B5EF4-FFF2-40B4-BE49-F238E27FC236}">
                <a16:creationId xmlns:a16="http://schemas.microsoft.com/office/drawing/2014/main" id="{25B869D7-C423-4F53-A7FF-2A6FA1D7B703}"/>
              </a:ext>
            </a:extLst>
          </p:cNvPr>
          <p:cNvSpPr txBox="1"/>
          <p:nvPr/>
        </p:nvSpPr>
        <p:spPr>
          <a:xfrm>
            <a:off x="6403149" y="1381863"/>
            <a:ext cx="3633870" cy="369332"/>
          </a:xfrm>
          <a:prstGeom prst="rect">
            <a:avLst/>
          </a:prstGeom>
          <a:noFill/>
        </p:spPr>
        <p:txBody>
          <a:bodyPr wrap="square" rtlCol="0">
            <a:spAutoFit/>
          </a:bodyPr>
          <a:lstStyle/>
          <a:p>
            <a:r>
              <a:rPr lang="de-DE" b="1" dirty="0"/>
              <a:t>Feedback collection pitfalls</a:t>
            </a:r>
          </a:p>
        </p:txBody>
      </p:sp>
      <p:sp>
        <p:nvSpPr>
          <p:cNvPr id="18" name="Rechteck 14">
            <a:extLst>
              <a:ext uri="{FF2B5EF4-FFF2-40B4-BE49-F238E27FC236}">
                <a16:creationId xmlns:a16="http://schemas.microsoft.com/office/drawing/2014/main" id="{BD0E1F9F-BBD0-4671-AFFB-45DDF8814F87}"/>
              </a:ext>
            </a:extLst>
          </p:cNvPr>
          <p:cNvSpPr>
            <a:spLocks noChangeArrowheads="1"/>
          </p:cNvSpPr>
          <p:nvPr/>
        </p:nvSpPr>
        <p:spPr bwMode="auto">
          <a:xfrm>
            <a:off x="710229" y="1863663"/>
            <a:ext cx="5289355" cy="40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Close the loop“ for the detractors by calling all low scores to voice out their experience in order to gain more insight and for the customer to feel heard (phone number should be a mandatory field at subscription)</a:t>
            </a:r>
          </a:p>
          <a:p>
            <a:pPr lvl="1" eaLnBrk="1" hangingPunct="1">
              <a:buClr>
                <a:srgbClr val="C21C1D"/>
              </a:buClr>
            </a:pPr>
            <a:endParaRPr lang="de-DE" altLang="de-DE" sz="1500" dirty="0">
              <a:solidFill>
                <a:srgbClr val="000000"/>
              </a:solidFill>
            </a:endParaRPr>
          </a:p>
          <a:p>
            <a:pPr lvl="1" eaLnBrk="1" hangingPunct="1">
              <a:buClr>
                <a:srgbClr val="C21C1D"/>
              </a:buClr>
            </a:pPr>
            <a:r>
              <a:rPr lang="de-DE" altLang="de-DE" sz="1500" b="1" dirty="0">
                <a:solidFill>
                  <a:srgbClr val="000000"/>
                </a:solidFill>
              </a:rPr>
              <a:t>Feedback on flights</a:t>
            </a:r>
          </a:p>
          <a:p>
            <a:pPr lvl="1" eaLnBrk="1" hangingPunct="1">
              <a:buClr>
                <a:srgbClr val="C21C1D"/>
              </a:buClr>
            </a:pPr>
            <a:endParaRPr lang="de-DE" altLang="de-DE" sz="1500" b="1" dirty="0">
              <a:solidFill>
                <a:srgbClr val="000000"/>
              </a:solidFill>
            </a:endParaRPr>
          </a:p>
          <a:p>
            <a:pPr lvl="2" eaLnBrk="1" hangingPunct="1">
              <a:buClr>
                <a:srgbClr val="C21C1D"/>
              </a:buClr>
            </a:pPr>
            <a:r>
              <a:rPr lang="de-DE" altLang="de-DE" sz="1500" dirty="0">
                <a:solidFill>
                  <a:srgbClr val="000000"/>
                </a:solidFill>
              </a:rPr>
              <a:t>Audit the different airlines in portfolio - with a focus on flight punctuality, flight cancellation, luggage management &amp; customer service excellence</a:t>
            </a:r>
          </a:p>
          <a:p>
            <a:pPr lvl="2" eaLnBrk="1" hangingPunct="1">
              <a:buClr>
                <a:srgbClr val="C21C1D"/>
              </a:buClr>
              <a:buFont typeface="Wingdings" panose="05000000000000000000" pitchFamily="2" charset="2"/>
              <a:buChar char="à"/>
            </a:pPr>
            <a:r>
              <a:rPr lang="de-DE" altLang="de-DE" sz="1500" dirty="0">
                <a:solidFill>
                  <a:srgbClr val="000000"/>
                </a:solidFill>
              </a:rPr>
              <a:t>Only partner with best ones</a:t>
            </a:r>
          </a:p>
          <a:p>
            <a:pPr lvl="1" eaLnBrk="1" hangingPunct="1">
              <a:buClr>
                <a:srgbClr val="C21C1D"/>
              </a:buClr>
              <a:buFont typeface="Wingdings" panose="05000000000000000000" pitchFamily="2" charset="2"/>
              <a:buChar char="à"/>
            </a:pPr>
            <a:endParaRPr lang="de-DE" altLang="de-DE" sz="1500" dirty="0">
              <a:solidFill>
                <a:srgbClr val="000000"/>
              </a:solidFill>
            </a:endParaRPr>
          </a:p>
          <a:p>
            <a:pPr lvl="2" eaLnBrk="1" hangingPunct="1">
              <a:buClr>
                <a:srgbClr val="C21C1D"/>
              </a:buClr>
            </a:pPr>
            <a:r>
              <a:rPr lang="de-DE" altLang="de-DE" sz="1500" dirty="0">
                <a:solidFill>
                  <a:srgbClr val="000000"/>
                </a:solidFill>
              </a:rPr>
              <a:t>In case of long waiting times in airport, always have a playful (group) activity prepared, that is adapted to the age group</a:t>
            </a:r>
          </a:p>
          <a:p>
            <a:pPr lvl="1" eaLnBrk="1" hangingPunct="1">
              <a:buClr>
                <a:srgbClr val="C21C1D"/>
              </a:buClr>
            </a:pPr>
            <a:endParaRPr lang="de-DE" altLang="de-DE" sz="1500" dirty="0">
              <a:solidFill>
                <a:srgbClr val="000000"/>
              </a:solidFill>
            </a:endParaRPr>
          </a:p>
          <a:p>
            <a:pPr lvl="1" eaLnBrk="1" hangingPunct="1">
              <a:buClr>
                <a:srgbClr val="C21C1D"/>
              </a:buClr>
            </a:pPr>
            <a:endParaRPr lang="de-DE" altLang="de-DE" sz="1500" dirty="0">
              <a:solidFill>
                <a:srgbClr val="000000"/>
              </a:solidFill>
            </a:endParaRPr>
          </a:p>
        </p:txBody>
      </p:sp>
      <p:pic>
        <p:nvPicPr>
          <p:cNvPr id="22" name="Picture 8" descr="Satisfied Customers Tell Three Friends, Angry Customers Tell 3, 000:  Running a Business in Today's Consumer-Driven World: Blackshaw, Pete,  James, Lloyd: 9781400157310: Amazon.com: Books">
            <a:extLst>
              <a:ext uri="{FF2B5EF4-FFF2-40B4-BE49-F238E27FC236}">
                <a16:creationId xmlns:a16="http://schemas.microsoft.com/office/drawing/2014/main" id="{1178E989-8B83-4887-ACEE-8B3E749E3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9651" y="3779445"/>
            <a:ext cx="1299636" cy="175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901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elta_From_To_Grade</a:t>
            </a:r>
          </a:p>
        </p:txBody>
      </p:sp>
      <p:sp>
        <p:nvSpPr>
          <p:cNvPr id="2" name="Obdélník 1"/>
          <p:cNvSpPr/>
          <p:nvPr/>
        </p:nvSpPr>
        <p:spPr>
          <a:xfrm>
            <a:off x="710228" y="1187481"/>
            <a:ext cx="10006539" cy="1477328"/>
          </a:xfrm>
          <a:prstGeom prst="rect">
            <a:avLst/>
          </a:prstGeom>
        </p:spPr>
        <p:txBody>
          <a:bodyPr wrap="square">
            <a:spAutoFit/>
          </a:bodyPr>
          <a:lstStyle/>
          <a:p>
            <a:pPr marL="285750" indent="-285750">
              <a:buFont typeface="Arial" panose="020B0604020202020204" pitchFamily="34" charset="0"/>
              <a:buChar char="•"/>
            </a:pPr>
            <a:r>
              <a:rPr lang="en-US" dirty="0"/>
              <a:t>We have introduced to dataset newly created parameter as combination of </a:t>
            </a:r>
          </a:p>
          <a:p>
            <a:pPr marL="742950" lvl="1" indent="-285750">
              <a:buFont typeface="Wingdings" panose="05000000000000000000" pitchFamily="2" charset="2"/>
              <a:buChar char="Ø"/>
            </a:pPr>
            <a:r>
              <a:rPr lang="en-US" dirty="0" err="1"/>
              <a:t>To_Grade</a:t>
            </a:r>
            <a:endParaRPr lang="en-US" dirty="0"/>
          </a:p>
          <a:p>
            <a:pPr marL="742950" lvl="1" indent="-285750">
              <a:buFont typeface="Wingdings" panose="05000000000000000000" pitchFamily="2" charset="2"/>
              <a:buChar char="Ø"/>
            </a:pPr>
            <a:r>
              <a:rPr lang="en-US" dirty="0" err="1"/>
              <a:t>From_Grade</a:t>
            </a:r>
            <a:endParaRPr lang="en-US" dirty="0"/>
          </a:p>
          <a:p>
            <a:pPr marL="285750" indent="-285750">
              <a:buFont typeface="Arial" panose="020B0604020202020204" pitchFamily="34" charset="0"/>
              <a:buChar char="•"/>
            </a:pPr>
            <a:r>
              <a:rPr lang="en-US" dirty="0" err="1"/>
              <a:t>Delta_From_To_Grade</a:t>
            </a:r>
            <a:r>
              <a:rPr lang="cs-CZ" dirty="0"/>
              <a:t> = </a:t>
            </a:r>
            <a:r>
              <a:rPr lang="cs-CZ" dirty="0" err="1"/>
              <a:t>From_Grade</a:t>
            </a:r>
            <a:r>
              <a:rPr lang="cs-CZ" dirty="0"/>
              <a:t> - </a:t>
            </a:r>
            <a:r>
              <a:rPr lang="cs-CZ" dirty="0" err="1"/>
              <a:t>To_Grade</a:t>
            </a:r>
            <a:endParaRPr lang="en-US" dirty="0"/>
          </a:p>
          <a:p>
            <a:pPr marL="285750" indent="-285750">
              <a:buFont typeface="Arial" panose="020B0604020202020204" pitchFamily="34" charset="0"/>
              <a:buChar char="•"/>
            </a:pPr>
            <a:r>
              <a:rPr lang="en-US" dirty="0"/>
              <a:t>Thanks to this new parameter, retained explanation increased to 80%.</a:t>
            </a:r>
          </a:p>
        </p:txBody>
      </p:sp>
      <p:pic>
        <p:nvPicPr>
          <p:cNvPr id="5" name="Obrázek 4"/>
          <p:cNvPicPr/>
          <p:nvPr/>
        </p:nvPicPr>
        <p:blipFill>
          <a:blip r:embed="rId3">
            <a:extLst>
              <a:ext uri="{28A0092B-C50C-407E-A947-70E740481C1C}">
                <a14:useLocalDpi xmlns:a14="http://schemas.microsoft.com/office/drawing/2010/main" val="0"/>
              </a:ext>
            </a:extLst>
          </a:blip>
          <a:srcRect/>
          <a:stretch>
            <a:fillRect/>
          </a:stretch>
        </p:blipFill>
        <p:spPr bwMode="auto">
          <a:xfrm>
            <a:off x="710228" y="2923807"/>
            <a:ext cx="10006539" cy="3355848"/>
          </a:xfrm>
          <a:prstGeom prst="rect">
            <a:avLst/>
          </a:prstGeom>
          <a:noFill/>
          <a:ln>
            <a:noFill/>
          </a:ln>
        </p:spPr>
      </p:pic>
    </p:spTree>
    <p:extLst>
      <p:ext uri="{BB962C8B-B14F-4D97-AF65-F5344CB8AC3E}">
        <p14:creationId xmlns:p14="http://schemas.microsoft.com/office/powerpoint/2010/main" val="2446652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p:cNvSpPr/>
          <p:nvPr/>
        </p:nvSpPr>
        <p:spPr>
          <a:xfrm>
            <a:off x="710229" y="1234869"/>
            <a:ext cx="10527747" cy="3970318"/>
          </a:xfrm>
          <a:prstGeom prst="rect">
            <a:avLst/>
          </a:prstGeom>
        </p:spPr>
        <p:txBody>
          <a:bodyPr wrap="square">
            <a:spAutoFit/>
          </a:bodyPr>
          <a:lstStyle/>
          <a:p>
            <a:pPr>
              <a:spcAft>
                <a:spcPts val="0"/>
              </a:spcAft>
            </a:pPr>
            <a:r>
              <a:rPr lang="en-US" b="1" dirty="0">
                <a:solidFill>
                  <a:srgbClr val="000000"/>
                </a:solidFill>
                <a:latin typeface="Arial" panose="020B0604020202020204" pitchFamily="34" charset="0"/>
                <a:ea typeface="Calibri" panose="020F0502020204030204" pitchFamily="34" charset="0"/>
                <a:cs typeface="Times New Roman" panose="02020603050405020304" pitchFamily="18" charset="0"/>
              </a:rPr>
              <a:t>Finding</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The level of overall satisfaction and retain factor for the trip is higher, when there are homogeneous groups of students attending.</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US" b="1" dirty="0">
                <a:solidFill>
                  <a:srgbClr val="000000"/>
                </a:solidFill>
                <a:latin typeface="Arial" panose="020B0604020202020204" pitchFamily="34" charset="0"/>
                <a:ea typeface="Calibri" panose="020F0502020204030204" pitchFamily="34" charset="0"/>
                <a:cs typeface="Times New Roman" panose="02020603050405020304" pitchFamily="18" charset="0"/>
              </a:rPr>
              <a:t>Rationale</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We suppose it is due to the fact, that it might be much easier to fulfill the expectations and entertain the homogenous group with similar interests by certain set of activities.</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Heterogeneous group (students of multiple grades) can have different interests, also some activities are not suited for multiple age groups</a:t>
            </a: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rPr>
              <a:t>I</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t might be much harder to find such activities suited for wider age range of peopl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elta_From_To_Grade</a:t>
            </a:r>
          </a:p>
        </p:txBody>
      </p:sp>
    </p:spTree>
    <p:extLst>
      <p:ext uri="{BB962C8B-B14F-4D97-AF65-F5344CB8AC3E}">
        <p14:creationId xmlns:p14="http://schemas.microsoft.com/office/powerpoint/2010/main" val="2972356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roduct Types – East Coast</a:t>
            </a:r>
          </a:p>
        </p:txBody>
      </p:sp>
      <p:sp>
        <p:nvSpPr>
          <p:cNvPr id="37" name="TextBox 36">
            <a:extLst>
              <a:ext uri="{FF2B5EF4-FFF2-40B4-BE49-F238E27FC236}">
                <a16:creationId xmlns:a16="http://schemas.microsoft.com/office/drawing/2014/main" id="{FDD8A222-A895-419D-AD83-22313EDDA5D4}"/>
              </a:ext>
            </a:extLst>
          </p:cNvPr>
          <p:cNvSpPr txBox="1"/>
          <p:nvPr/>
        </p:nvSpPr>
        <p:spPr>
          <a:xfrm>
            <a:off x="710228" y="1087965"/>
            <a:ext cx="10757869" cy="4247317"/>
          </a:xfrm>
          <a:prstGeom prst="rect">
            <a:avLst/>
          </a:prstGeom>
          <a:noFill/>
        </p:spPr>
        <p:txBody>
          <a:bodyPr wrap="square" rtlCol="0">
            <a:spAutoFit/>
          </a:bodyPr>
          <a:lstStyle/>
          <a:p>
            <a:r>
              <a:rPr lang="en-GB" dirty="0"/>
              <a:t>We have observed a significant driver to retention to be the selection of the East Coast product.</a:t>
            </a:r>
          </a:p>
          <a:p>
            <a:endParaRPr lang="en-GB" dirty="0"/>
          </a:p>
          <a:p>
            <a:r>
              <a:rPr lang="en-GB" dirty="0"/>
              <a:t>CA History is by far the most popular product but not among the key drivers if regarded in combination with the other factors. Thus, it is recommended to broaden this product for trial and monitor it’s impact</a:t>
            </a:r>
            <a:endParaRPr lang="en-GB" dirty="0">
              <a:solidFill>
                <a:srgbClr val="FF0000"/>
              </a:solidFill>
            </a:endParaRPr>
          </a:p>
          <a:p>
            <a:endParaRPr lang="en-GB" dirty="0"/>
          </a:p>
          <a:p>
            <a:r>
              <a:rPr lang="en-GB" dirty="0"/>
              <a:t>Underperformers:</a:t>
            </a:r>
          </a:p>
          <a:p>
            <a:pPr marL="285750" indent="-285750">
              <a:buFont typeface="Arial" panose="020B0604020202020204" pitchFamily="34" charset="0"/>
              <a:buChar char="•"/>
            </a:pPr>
            <a:r>
              <a:rPr lang="en-GB" dirty="0"/>
              <a:t>Costa Rica</a:t>
            </a:r>
          </a:p>
          <a:p>
            <a:pPr marL="285750" indent="-285750">
              <a:buFont typeface="Arial" panose="020B0604020202020204" pitchFamily="34" charset="0"/>
              <a:buChar char="•"/>
            </a:pPr>
            <a:r>
              <a:rPr lang="en-GB" dirty="0"/>
              <a:t>International</a:t>
            </a:r>
          </a:p>
          <a:p>
            <a:endParaRPr lang="en-GB" dirty="0"/>
          </a:p>
          <a:p>
            <a:r>
              <a:rPr lang="en-GB" dirty="0"/>
              <a:t>It is noteworthy that the volume for these products are much lower </a:t>
            </a:r>
          </a:p>
          <a:p>
            <a:r>
              <a:rPr lang="en-GB" dirty="0"/>
              <a:t>Than others, and could be considered too small to analyse, however</a:t>
            </a:r>
          </a:p>
          <a:p>
            <a:r>
              <a:rPr lang="en-GB" dirty="0"/>
              <a:t>It is unlikely that with a larger sample size the retention rate for</a:t>
            </a:r>
          </a:p>
          <a:p>
            <a:r>
              <a:rPr lang="en-GB" dirty="0"/>
              <a:t>International would increase from 7% to that of the better </a:t>
            </a:r>
          </a:p>
          <a:p>
            <a:r>
              <a:rPr lang="en-GB" dirty="0"/>
              <a:t>performers.</a:t>
            </a:r>
          </a:p>
          <a:p>
            <a:endParaRPr lang="en-GB" dirty="0"/>
          </a:p>
        </p:txBody>
      </p:sp>
      <p:graphicFrame>
        <p:nvGraphicFramePr>
          <p:cNvPr id="3" name="Table 2">
            <a:extLst>
              <a:ext uri="{FF2B5EF4-FFF2-40B4-BE49-F238E27FC236}">
                <a16:creationId xmlns:a16="http://schemas.microsoft.com/office/drawing/2014/main" id="{D73A4CBC-A960-43C0-9F12-5ECFD10A7465}"/>
              </a:ext>
            </a:extLst>
          </p:cNvPr>
          <p:cNvGraphicFramePr>
            <a:graphicFrameLocks noGrp="1"/>
          </p:cNvGraphicFramePr>
          <p:nvPr/>
        </p:nvGraphicFramePr>
        <p:xfrm>
          <a:off x="7226298" y="2358230"/>
          <a:ext cx="4241800" cy="2099468"/>
        </p:xfrm>
        <a:graphic>
          <a:graphicData uri="http://schemas.openxmlformats.org/drawingml/2006/table">
            <a:tbl>
              <a:tblPr/>
              <a:tblGrid>
                <a:gridCol w="1520404">
                  <a:extLst>
                    <a:ext uri="{9D8B030D-6E8A-4147-A177-3AD203B41FA5}">
                      <a16:colId xmlns:a16="http://schemas.microsoft.com/office/drawing/2014/main" val="191486004"/>
                    </a:ext>
                  </a:extLst>
                </a:gridCol>
                <a:gridCol w="907132">
                  <a:extLst>
                    <a:ext uri="{9D8B030D-6E8A-4147-A177-3AD203B41FA5}">
                      <a16:colId xmlns:a16="http://schemas.microsoft.com/office/drawing/2014/main" val="3791881641"/>
                    </a:ext>
                  </a:extLst>
                </a:gridCol>
                <a:gridCol w="907132">
                  <a:extLst>
                    <a:ext uri="{9D8B030D-6E8A-4147-A177-3AD203B41FA5}">
                      <a16:colId xmlns:a16="http://schemas.microsoft.com/office/drawing/2014/main" val="509735430"/>
                    </a:ext>
                  </a:extLst>
                </a:gridCol>
                <a:gridCol w="907132">
                  <a:extLst>
                    <a:ext uri="{9D8B030D-6E8A-4147-A177-3AD203B41FA5}">
                      <a16:colId xmlns:a16="http://schemas.microsoft.com/office/drawing/2014/main" val="1711927919"/>
                    </a:ext>
                  </a:extLst>
                </a:gridCol>
              </a:tblGrid>
              <a:tr h="515438">
                <a:tc>
                  <a:txBody>
                    <a:bodyPr/>
                    <a:lstStyle/>
                    <a:p>
                      <a:pPr algn="ctr" rtl="0" fontAlgn="ctr"/>
                      <a:r>
                        <a:rPr lang="en-GB" sz="1400" b="1" i="0" u="none" strike="noStrike">
                          <a:solidFill>
                            <a:srgbClr val="FFFFFF"/>
                          </a:solidFill>
                          <a:effectLst/>
                          <a:latin typeface="Arial Regular"/>
                        </a:rPr>
                        <a:t>Produc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a:solidFill>
                            <a:srgbClr val="FFFFFF"/>
                          </a:solidFill>
                          <a:effectLst/>
                          <a:latin typeface="Arial Regular"/>
                        </a:rPr>
                        <a:t>Sale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dirty="0">
                          <a:solidFill>
                            <a:srgbClr val="FFFFFF"/>
                          </a:solidFill>
                          <a:effectLst/>
                          <a:latin typeface="Arial Regular"/>
                        </a:rPr>
                        <a:t>Retaine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a:solidFill>
                            <a:srgbClr val="FFFFFF"/>
                          </a:solidFill>
                          <a:effectLst/>
                          <a:latin typeface="Arial Regular"/>
                        </a:rPr>
                        <a:t>Lapse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extLst>
                  <a:ext uri="{0D108BD9-81ED-4DB2-BD59-A6C34878D82A}">
                    <a16:rowId xmlns:a16="http://schemas.microsoft.com/office/drawing/2014/main" val="628032383"/>
                  </a:ext>
                </a:extLst>
              </a:tr>
              <a:tr h="264005">
                <a:tc>
                  <a:txBody>
                    <a:bodyPr/>
                    <a:lstStyle/>
                    <a:p>
                      <a:pPr algn="l" rtl="0" fontAlgn="ctr"/>
                      <a:r>
                        <a:rPr lang="en-GB" sz="1400" b="0" i="0" u="none" strike="noStrike" dirty="0">
                          <a:solidFill>
                            <a:srgbClr val="000000"/>
                          </a:solidFill>
                          <a:effectLst/>
                          <a:latin typeface="Arial Regular"/>
                        </a:rPr>
                        <a:t> CA History</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1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7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dirty="0">
                          <a:solidFill>
                            <a:srgbClr val="000000"/>
                          </a:solidFill>
                          <a:effectLst/>
                          <a:latin typeface="Arial Regular"/>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1828321639"/>
                  </a:ext>
                </a:extLst>
              </a:tr>
              <a:tr h="264005">
                <a:tc>
                  <a:txBody>
                    <a:bodyPr/>
                    <a:lstStyle/>
                    <a:p>
                      <a:pPr algn="l" rtl="0" fontAlgn="ctr"/>
                      <a:r>
                        <a:rPr lang="en-GB" sz="1400" b="0" i="0" u="none" strike="noStrike" dirty="0">
                          <a:solidFill>
                            <a:srgbClr val="000000"/>
                          </a:solidFill>
                          <a:effectLst/>
                          <a:latin typeface="Arial Regular"/>
                        </a:rPr>
                        <a:t> Costa Ric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7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2182630985"/>
                  </a:ext>
                </a:extLst>
              </a:tr>
              <a:tr h="264005">
                <a:tc>
                  <a:txBody>
                    <a:bodyPr/>
                    <a:lstStyle/>
                    <a:p>
                      <a:pPr algn="l" rtl="0" fontAlgn="ctr"/>
                      <a:r>
                        <a:rPr lang="en-GB" sz="1400" b="0" i="0" u="none" strike="noStrike" dirty="0">
                          <a:solidFill>
                            <a:srgbClr val="000000"/>
                          </a:solidFill>
                          <a:effectLst/>
                          <a:latin typeface="Arial Regular"/>
                        </a:rPr>
                        <a:t> East Coas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46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6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1835647443"/>
                  </a:ext>
                </a:extLst>
              </a:tr>
              <a:tr h="264005">
                <a:tc>
                  <a:txBody>
                    <a:bodyPr/>
                    <a:lstStyle/>
                    <a:p>
                      <a:pPr algn="l" rtl="0" fontAlgn="ctr"/>
                      <a:r>
                        <a:rPr lang="en-GB" sz="1400" b="0" i="0" u="none" strike="noStrike" dirty="0">
                          <a:solidFill>
                            <a:srgbClr val="000000"/>
                          </a:solidFill>
                          <a:effectLst/>
                          <a:latin typeface="Arial Regular"/>
                        </a:rPr>
                        <a:t> IL History</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3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1717662705"/>
                  </a:ext>
                </a:extLst>
              </a:tr>
              <a:tr h="264005">
                <a:tc>
                  <a:txBody>
                    <a:bodyPr/>
                    <a:lstStyle/>
                    <a:p>
                      <a:pPr algn="l" rtl="0" fontAlgn="ctr"/>
                      <a:r>
                        <a:rPr lang="en-GB" sz="1400" b="0" i="0" u="none" strike="noStrike" dirty="0">
                          <a:solidFill>
                            <a:srgbClr val="000000"/>
                          </a:solidFill>
                          <a:effectLst/>
                          <a:latin typeface="Arial Regular"/>
                        </a:rPr>
                        <a:t> Internationa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dirty="0">
                          <a:solidFill>
                            <a:srgbClr val="000000"/>
                          </a:solidFill>
                          <a:effectLst/>
                          <a:latin typeface="Arial Regular"/>
                        </a:rPr>
                        <a:t>9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4019644888"/>
                  </a:ext>
                </a:extLst>
              </a:tr>
              <a:tr h="264005">
                <a:tc>
                  <a:txBody>
                    <a:bodyPr/>
                    <a:lstStyle/>
                    <a:p>
                      <a:pPr algn="l" rtl="0" fontAlgn="ctr"/>
                      <a:r>
                        <a:rPr lang="en-GB" sz="1400" b="0" i="0" u="none" strike="noStrike" dirty="0">
                          <a:solidFill>
                            <a:srgbClr val="000000"/>
                          </a:solidFill>
                          <a:effectLst/>
                          <a:latin typeface="Arial Regular"/>
                        </a:rPr>
                        <a:t> Science</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2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2187203268"/>
                  </a:ext>
                </a:extLst>
              </a:tr>
            </a:tbl>
          </a:graphicData>
        </a:graphic>
      </p:graphicFrame>
      <p:sp>
        <p:nvSpPr>
          <p:cNvPr id="9" name="TextBox 8">
            <a:extLst>
              <a:ext uri="{FF2B5EF4-FFF2-40B4-BE49-F238E27FC236}">
                <a16:creationId xmlns:a16="http://schemas.microsoft.com/office/drawing/2014/main" id="{CCA1DE57-CEEE-420A-A7C6-64E049A72887}"/>
              </a:ext>
            </a:extLst>
          </p:cNvPr>
          <p:cNvSpPr txBox="1"/>
          <p:nvPr/>
        </p:nvSpPr>
        <p:spPr>
          <a:xfrm>
            <a:off x="7226298" y="4503398"/>
            <a:ext cx="4241800" cy="784830"/>
          </a:xfrm>
          <a:prstGeom prst="rect">
            <a:avLst/>
          </a:prstGeom>
          <a:noFill/>
        </p:spPr>
        <p:txBody>
          <a:bodyPr wrap="square" rtlCol="0">
            <a:spAutoFit/>
          </a:bodyPr>
          <a:lstStyle/>
          <a:p>
            <a:r>
              <a:rPr lang="en-GB" sz="1500" i="1" dirty="0"/>
              <a:t>This one way analysis is more rudimentary than the predictive model but is shown here for ease of understanding.</a:t>
            </a:r>
          </a:p>
        </p:txBody>
      </p:sp>
      <p:sp>
        <p:nvSpPr>
          <p:cNvPr id="12" name="Rectangle: Rounded Corners 11">
            <a:extLst>
              <a:ext uri="{FF2B5EF4-FFF2-40B4-BE49-F238E27FC236}">
                <a16:creationId xmlns:a16="http://schemas.microsoft.com/office/drawing/2014/main" id="{520AE2E5-AB31-4B18-BEEE-1E8085578CEF}"/>
              </a:ext>
            </a:extLst>
          </p:cNvPr>
          <p:cNvSpPr/>
          <p:nvPr/>
        </p:nvSpPr>
        <p:spPr>
          <a:xfrm>
            <a:off x="710229" y="5514974"/>
            <a:ext cx="9833946" cy="883807"/>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b="1" u="sng" dirty="0">
                <a:solidFill>
                  <a:srgbClr val="BD1E20"/>
                </a:solidFill>
              </a:rPr>
              <a:t>Business Recommendations</a:t>
            </a:r>
            <a:r>
              <a:rPr lang="en-GB" dirty="0">
                <a:solidFill>
                  <a:srgbClr val="BD1E20"/>
                </a:solidFill>
              </a:rPr>
              <a:t>: </a:t>
            </a:r>
            <a:r>
              <a:rPr lang="en-GB" dirty="0"/>
              <a:t>Where possible focus marketing on the East Coast product and offer incentives for selecting this product with the aim of increasing long term retention and therefore LTV. Undertake a review of the International and Costa Rica offerings.</a:t>
            </a:r>
            <a:endParaRPr lang="en-GB" dirty="0">
              <a:solidFill>
                <a:srgbClr val="BD1E20"/>
              </a:solidFill>
            </a:endParaRPr>
          </a:p>
        </p:txBody>
      </p:sp>
    </p:spTree>
    <p:extLst>
      <p:ext uri="{BB962C8B-B14F-4D97-AF65-F5344CB8AC3E}">
        <p14:creationId xmlns:p14="http://schemas.microsoft.com/office/powerpoint/2010/main" val="573348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Index | Presentation Core </a:t>
            </a:r>
            <a:r>
              <a:rPr lang="it-IT" sz="2000" b="1" dirty="0" err="1">
                <a:solidFill>
                  <a:srgbClr val="752127"/>
                </a:solidFill>
              </a:rPr>
              <a:t>Structure</a:t>
            </a:r>
            <a:endParaRPr lang="it-IT" sz="2000" b="1" dirty="0">
              <a:solidFill>
                <a:srgbClr val="752127"/>
              </a:solidFill>
            </a:endParaRPr>
          </a:p>
        </p:txBody>
      </p:sp>
      <p:sp>
        <p:nvSpPr>
          <p:cNvPr id="3" name="TextBox 2">
            <a:extLst>
              <a:ext uri="{FF2B5EF4-FFF2-40B4-BE49-F238E27FC236}">
                <a16:creationId xmlns:a16="http://schemas.microsoft.com/office/drawing/2014/main" id="{E6AC5206-17D6-4CF5-8E1D-130170A0ED3F}"/>
              </a:ext>
            </a:extLst>
          </p:cNvPr>
          <p:cNvSpPr txBox="1"/>
          <p:nvPr/>
        </p:nvSpPr>
        <p:spPr>
          <a:xfrm>
            <a:off x="1134736" y="1949985"/>
            <a:ext cx="10355857" cy="3539430"/>
          </a:xfrm>
          <a:prstGeom prst="rect">
            <a:avLst/>
          </a:prstGeom>
          <a:noFill/>
          <a:ln>
            <a:noFill/>
          </a:ln>
        </p:spPr>
        <p:txBody>
          <a:bodyPr wrap="square" rtlCol="0">
            <a:spAutoFit/>
          </a:bodyPr>
          <a:lstStyle/>
          <a:p>
            <a:pPr marL="285750" indent="-285750">
              <a:buFont typeface="Arial" panose="020B0604020202020204" pitchFamily="34" charset="0"/>
              <a:buChar char="•"/>
            </a:pPr>
            <a:r>
              <a:rPr lang="en-US" sz="2800" dirty="0"/>
              <a:t>Team Composition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How we worked together</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Overview of the entire process and data insights obtained from it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Business action proposals based on findings</a:t>
            </a:r>
          </a:p>
          <a:p>
            <a:pPr marL="285750" indent="-285750">
              <a:buFont typeface="Arial" panose="020B0604020202020204" pitchFamily="34" charset="0"/>
              <a:buChar char="•"/>
            </a:pPr>
            <a:endParaRPr lang="en-US" sz="2800" dirty="0"/>
          </a:p>
        </p:txBody>
      </p:sp>
      <p:sp>
        <p:nvSpPr>
          <p:cNvPr id="5" name="Rectangle: Rounded Corners 4">
            <a:extLst>
              <a:ext uri="{FF2B5EF4-FFF2-40B4-BE49-F238E27FC236}">
                <a16:creationId xmlns:a16="http://schemas.microsoft.com/office/drawing/2014/main" id="{2EC801BA-1859-4363-AB1E-2F58E286F257}"/>
              </a:ext>
            </a:extLst>
          </p:cNvPr>
          <p:cNvSpPr/>
          <p:nvPr/>
        </p:nvSpPr>
        <p:spPr>
          <a:xfrm>
            <a:off x="9590061" y="661996"/>
            <a:ext cx="1530220"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adapt</a:t>
            </a:r>
          </a:p>
        </p:txBody>
      </p:sp>
    </p:spTree>
    <p:extLst>
      <p:ext uri="{BB962C8B-B14F-4D97-AF65-F5344CB8AC3E}">
        <p14:creationId xmlns:p14="http://schemas.microsoft.com/office/powerpoint/2010/main" val="1582394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otal Number of Passengers</a:t>
            </a:r>
          </a:p>
        </p:txBody>
      </p:sp>
      <p:sp>
        <p:nvSpPr>
          <p:cNvPr id="37" name="TextBox 36">
            <a:extLst>
              <a:ext uri="{FF2B5EF4-FFF2-40B4-BE49-F238E27FC236}">
                <a16:creationId xmlns:a16="http://schemas.microsoft.com/office/drawing/2014/main" id="{FDD8A222-A895-419D-AD83-22313EDDA5D4}"/>
              </a:ext>
            </a:extLst>
          </p:cNvPr>
          <p:cNvSpPr txBox="1"/>
          <p:nvPr/>
        </p:nvSpPr>
        <p:spPr>
          <a:xfrm>
            <a:off x="710229" y="906342"/>
            <a:ext cx="10684702" cy="4247317"/>
          </a:xfrm>
          <a:prstGeom prst="rect">
            <a:avLst/>
          </a:prstGeom>
          <a:noFill/>
        </p:spPr>
        <p:txBody>
          <a:bodyPr wrap="square" rtlCol="0">
            <a:spAutoFit/>
          </a:bodyPr>
          <a:lstStyle/>
          <a:p>
            <a:endParaRPr lang="en-GB" dirty="0"/>
          </a:p>
          <a:p>
            <a:endParaRPr lang="en-GB" dirty="0"/>
          </a:p>
          <a:p>
            <a:r>
              <a:rPr lang="en-GB" b="1" dirty="0"/>
              <a:t>Pivotal Passenger Sizes</a:t>
            </a:r>
          </a:p>
          <a:p>
            <a:pPr marL="285750" indent="-285750">
              <a:buFont typeface="Arial" panose="020B0604020202020204" pitchFamily="34" charset="0"/>
              <a:buChar char="•"/>
            </a:pPr>
            <a:r>
              <a:rPr lang="en-GB" dirty="0"/>
              <a:t>&lt; 10 Largely not retained</a:t>
            </a:r>
          </a:p>
          <a:p>
            <a:pPr marL="285750" indent="-285750">
              <a:buFont typeface="Arial" panose="020B0604020202020204" pitchFamily="34" charset="0"/>
              <a:buChar char="•"/>
            </a:pPr>
            <a:r>
              <a:rPr lang="en-GB" dirty="0"/>
              <a:t>Crossover Point: ~25 Passengers</a:t>
            </a:r>
          </a:p>
          <a:p>
            <a:pPr marL="285750" indent="-285750">
              <a:buFont typeface="Arial" panose="020B0604020202020204" pitchFamily="34" charset="0"/>
              <a:buChar char="•"/>
            </a:pPr>
            <a:r>
              <a:rPr lang="en-GB" dirty="0"/>
              <a:t>&gt; 25 sees a large increase in the retained percentage</a:t>
            </a:r>
          </a:p>
          <a:p>
            <a:endParaRPr lang="en-GB" dirty="0"/>
          </a:p>
          <a:p>
            <a:endParaRPr lang="en-GB" dirty="0"/>
          </a:p>
          <a:p>
            <a:r>
              <a:rPr lang="en-GB" dirty="0"/>
              <a:t>Regarding the insights of </a:t>
            </a:r>
            <a:r>
              <a:rPr lang="de-DE" dirty="0"/>
              <a:t>'</a:t>
            </a:r>
            <a:r>
              <a:rPr lang="de-DE" dirty="0" err="1"/>
              <a:t>Delta_From_To_Grade</a:t>
            </a:r>
            <a:r>
              <a:rPr lang="de-DE" dirty="0"/>
              <a:t>,</a:t>
            </a:r>
          </a:p>
          <a:p>
            <a:r>
              <a:rPr lang="de-DE" dirty="0" err="1"/>
              <a:t>the</a:t>
            </a:r>
            <a:r>
              <a:rPr lang="de-DE" dirty="0"/>
              <a:t> </a:t>
            </a:r>
            <a:r>
              <a:rPr lang="de-DE" dirty="0" err="1"/>
              <a:t>group</a:t>
            </a:r>
            <a:r>
              <a:rPr lang="de-DE" dirty="0"/>
              <a:t> </a:t>
            </a:r>
            <a:r>
              <a:rPr lang="de-DE" dirty="0" err="1"/>
              <a:t>size</a:t>
            </a:r>
            <a:r>
              <a:rPr lang="de-DE" dirty="0"/>
              <a:t> </a:t>
            </a:r>
            <a:r>
              <a:rPr lang="de-DE" dirty="0" err="1"/>
              <a:t>must</a:t>
            </a:r>
            <a:r>
              <a:rPr lang="de-DE" dirty="0"/>
              <a:t> not </a:t>
            </a:r>
            <a:r>
              <a:rPr lang="de-DE" dirty="0" err="1"/>
              <a:t>be</a:t>
            </a:r>
            <a:r>
              <a:rPr lang="de-DE" dirty="0"/>
              <a:t> </a:t>
            </a:r>
            <a:r>
              <a:rPr lang="de-DE" dirty="0" err="1"/>
              <a:t>increased</a:t>
            </a:r>
            <a:r>
              <a:rPr lang="de-DE" dirty="0"/>
              <a:t> in </a:t>
            </a:r>
            <a:r>
              <a:rPr lang="de-DE" dirty="0" err="1"/>
              <a:t>any</a:t>
            </a:r>
            <a:r>
              <a:rPr lang="de-DE" dirty="0"/>
              <a:t> </a:t>
            </a:r>
            <a:r>
              <a:rPr lang="de-DE" dirty="0" err="1"/>
              <a:t>case</a:t>
            </a:r>
            <a:r>
              <a:rPr lang="de-DE" dirty="0"/>
              <a:t> but</a:t>
            </a:r>
          </a:p>
          <a:p>
            <a:r>
              <a:rPr lang="de-DE" dirty="0"/>
              <a:t>but </a:t>
            </a:r>
            <a:r>
              <a:rPr lang="de-DE" dirty="0" err="1"/>
              <a:t>has</a:t>
            </a:r>
            <a:r>
              <a:rPr lang="de-DE" dirty="0"/>
              <a:t> </a:t>
            </a:r>
            <a:r>
              <a:rPr lang="de-DE" dirty="0" err="1"/>
              <a:t>to</a:t>
            </a:r>
            <a:r>
              <a:rPr lang="de-DE" dirty="0"/>
              <a:t> </a:t>
            </a:r>
            <a:r>
              <a:rPr lang="de-DE" dirty="0" err="1"/>
              <a:t>ensure</a:t>
            </a:r>
            <a:r>
              <a:rPr lang="de-DE" dirty="0"/>
              <a:t> </a:t>
            </a:r>
            <a:r>
              <a:rPr lang="de-DE" dirty="0" err="1"/>
              <a:t>the</a:t>
            </a:r>
            <a:r>
              <a:rPr lang="de-DE" dirty="0"/>
              <a:t> </a:t>
            </a:r>
            <a:r>
              <a:rPr lang="de-DE" dirty="0" err="1"/>
              <a:t>homogenity</a:t>
            </a:r>
            <a:r>
              <a:rPr lang="de-DE" dirty="0"/>
              <a:t> </a:t>
            </a:r>
            <a:r>
              <a:rPr lang="de-DE" dirty="0" err="1"/>
              <a:t>of</a:t>
            </a:r>
            <a:r>
              <a:rPr lang="de-DE" dirty="0"/>
              <a:t> </a:t>
            </a:r>
            <a:r>
              <a:rPr lang="de-DE" dirty="0" err="1"/>
              <a:t>age</a:t>
            </a:r>
            <a:endParaRPr lang="en-GB" dirty="0"/>
          </a:p>
          <a:p>
            <a:endParaRPr lang="en-GB" dirty="0"/>
          </a:p>
          <a:p>
            <a:endParaRPr lang="en-GB" dirty="0"/>
          </a:p>
          <a:p>
            <a:endParaRPr lang="en-GB" dirty="0"/>
          </a:p>
          <a:p>
            <a:endParaRPr lang="en-GB" dirty="0"/>
          </a:p>
        </p:txBody>
      </p:sp>
      <p:pic>
        <p:nvPicPr>
          <p:cNvPr id="41" name="Grafik 1">
            <a:extLst>
              <a:ext uri="{FF2B5EF4-FFF2-40B4-BE49-F238E27FC236}">
                <a16:creationId xmlns:a16="http://schemas.microsoft.com/office/drawing/2014/main" id="{FD8CD0C9-B401-4E75-889F-6769CE05573B}"/>
              </a:ext>
            </a:extLst>
          </p:cNvPr>
          <p:cNvPicPr>
            <a:picLocks noChangeAspect="1"/>
          </p:cNvPicPr>
          <p:nvPr/>
        </p:nvPicPr>
        <p:blipFill>
          <a:blip r:embed="rId3"/>
          <a:stretch>
            <a:fillRect/>
          </a:stretch>
        </p:blipFill>
        <p:spPr>
          <a:xfrm>
            <a:off x="5740691" y="1304925"/>
            <a:ext cx="6364748" cy="4048125"/>
          </a:xfrm>
          <a:prstGeom prst="rect">
            <a:avLst/>
          </a:prstGeom>
        </p:spPr>
      </p:pic>
      <p:sp>
        <p:nvSpPr>
          <p:cNvPr id="42" name="Rectangle: Rounded Corners 41">
            <a:extLst>
              <a:ext uri="{FF2B5EF4-FFF2-40B4-BE49-F238E27FC236}">
                <a16:creationId xmlns:a16="http://schemas.microsoft.com/office/drawing/2014/main" id="{BB6D2B60-DE07-4ACE-BC53-3051DDE5DCDD}"/>
              </a:ext>
            </a:extLst>
          </p:cNvPr>
          <p:cNvSpPr/>
          <p:nvPr/>
        </p:nvSpPr>
        <p:spPr>
          <a:xfrm>
            <a:off x="710229" y="5514974"/>
            <a:ext cx="9833946" cy="883807"/>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b="1" u="sng" dirty="0">
                <a:solidFill>
                  <a:srgbClr val="BD1E20"/>
                </a:solidFill>
              </a:rPr>
              <a:t>Business Recommendations</a:t>
            </a:r>
            <a:r>
              <a:rPr lang="en-GB" dirty="0">
                <a:solidFill>
                  <a:srgbClr val="BD1E20"/>
                </a:solidFill>
              </a:rPr>
              <a:t>: </a:t>
            </a:r>
            <a:r>
              <a:rPr lang="en-GB" dirty="0"/>
              <a:t>Take actions to increase the group size without increasing the homogeneity of the age groups. Promising measures are incentivising larger groups by giving a discount and merging several groups of the same age.</a:t>
            </a:r>
            <a:endParaRPr lang="en-GB" dirty="0">
              <a:solidFill>
                <a:srgbClr val="BD1E20"/>
              </a:solidFill>
            </a:endParaRPr>
          </a:p>
        </p:txBody>
      </p:sp>
    </p:spTree>
    <p:extLst>
      <p:ext uri="{BB962C8B-B14F-4D97-AF65-F5344CB8AC3E}">
        <p14:creationId xmlns:p14="http://schemas.microsoft.com/office/powerpoint/2010/main" val="3249531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Improving Data Quality and Value Add from Data</a:t>
            </a:r>
          </a:p>
        </p:txBody>
      </p:sp>
      <p:sp>
        <p:nvSpPr>
          <p:cNvPr id="4" name="TextBox 3">
            <a:extLst>
              <a:ext uri="{FF2B5EF4-FFF2-40B4-BE49-F238E27FC236}">
                <a16:creationId xmlns:a16="http://schemas.microsoft.com/office/drawing/2014/main" id="{9E99E72D-A847-4302-B37D-FCE93E91D89D}"/>
              </a:ext>
            </a:extLst>
          </p:cNvPr>
          <p:cNvSpPr txBox="1"/>
          <p:nvPr/>
        </p:nvSpPr>
        <p:spPr>
          <a:xfrm>
            <a:off x="710229" y="820617"/>
            <a:ext cx="10771542" cy="4632037"/>
          </a:xfrm>
          <a:prstGeom prst="rect">
            <a:avLst/>
          </a:prstGeom>
          <a:noFill/>
        </p:spPr>
        <p:txBody>
          <a:bodyPr wrap="square" rtlCol="0">
            <a:spAutoFit/>
          </a:bodyPr>
          <a:lstStyle/>
          <a:p>
            <a:r>
              <a:rPr lang="en-GB" dirty="0"/>
              <a:t>We have seen that with the already data collected, value can be derived that can support data driven decisions with the aim of increasing top line revenues.</a:t>
            </a:r>
          </a:p>
          <a:p>
            <a:endParaRPr lang="en-GB" sz="500" dirty="0"/>
          </a:p>
          <a:p>
            <a:r>
              <a:rPr lang="en-GB" dirty="0"/>
              <a:t>The value that can be derived from data is linked to the detail and quality of the data, therefore it is advised to invest further in the data capture systems and data cleansing processes.</a:t>
            </a:r>
          </a:p>
          <a:p>
            <a:endParaRPr lang="en-GB" sz="1000" dirty="0"/>
          </a:p>
          <a:p>
            <a:r>
              <a:rPr lang="en-GB" b="1" dirty="0"/>
              <a:t>Data Input </a:t>
            </a:r>
          </a:p>
          <a:p>
            <a:pPr marL="342900" indent="-342900">
              <a:buFont typeface="Arial" panose="020B0604020202020204" pitchFamily="34" charset="0"/>
              <a:buChar char="•"/>
            </a:pPr>
            <a:r>
              <a:rPr lang="en-GB" dirty="0"/>
              <a:t>Implement mandatory fields</a:t>
            </a:r>
          </a:p>
          <a:p>
            <a:pPr marL="342900" indent="-342900">
              <a:buFont typeface="Arial" panose="020B0604020202020204" pitchFamily="34" charset="0"/>
              <a:buChar char="•"/>
            </a:pPr>
            <a:r>
              <a:rPr lang="en-GB" dirty="0"/>
              <a:t>Enable dropdown selections for defined categories</a:t>
            </a:r>
          </a:p>
          <a:p>
            <a:pPr marL="342900" indent="-342900">
              <a:buFont typeface="Arial" panose="020B0604020202020204" pitchFamily="34" charset="0"/>
              <a:buChar char="•"/>
            </a:pPr>
            <a:r>
              <a:rPr lang="en-GB" dirty="0"/>
              <a:t>Reduce “free text” inputs where appropriate</a:t>
            </a:r>
          </a:p>
          <a:p>
            <a:pPr marL="800100" lvl="1" indent="-342900">
              <a:buFont typeface="Arial" panose="020B0604020202020204" pitchFamily="34" charset="0"/>
              <a:buChar char="•"/>
            </a:pPr>
            <a:r>
              <a:rPr lang="en-GB" dirty="0"/>
              <a:t>e.g. pop-out calendars for date selections</a:t>
            </a:r>
          </a:p>
          <a:p>
            <a:endParaRPr lang="en-GB" sz="1000" dirty="0"/>
          </a:p>
          <a:p>
            <a:r>
              <a:rPr lang="en-GB" b="1" dirty="0"/>
              <a:t>Post-Input Data Quality Checks</a:t>
            </a:r>
          </a:p>
          <a:p>
            <a:pPr marL="342900" indent="-342900">
              <a:buFont typeface="Arial" panose="020B0604020202020204" pitchFamily="34" charset="0"/>
              <a:buChar char="•"/>
            </a:pPr>
            <a:r>
              <a:rPr lang="en-GB" dirty="0"/>
              <a:t>Data Type Checks</a:t>
            </a:r>
          </a:p>
          <a:p>
            <a:pPr marL="800100" lvl="1" indent="-342900">
              <a:buFont typeface="Arial" panose="020B0604020202020204" pitchFamily="34" charset="0"/>
              <a:buChar char="•"/>
            </a:pPr>
            <a:r>
              <a:rPr lang="en-GB" dirty="0"/>
              <a:t>e.g. Dates are correctly formatted</a:t>
            </a:r>
          </a:p>
          <a:p>
            <a:pPr marL="342900" indent="-342900">
              <a:buFont typeface="Arial" panose="020B0604020202020204" pitchFamily="34" charset="0"/>
              <a:buChar char="•"/>
            </a:pPr>
            <a:r>
              <a:rPr lang="en-GB" dirty="0"/>
              <a:t>Automated Logic Tests to identify errors in data input, feedback loop to correct errors.</a:t>
            </a:r>
          </a:p>
          <a:p>
            <a:pPr marL="800100" lvl="1" indent="-342900">
              <a:buFont typeface="Arial" panose="020B0604020202020204" pitchFamily="34" charset="0"/>
              <a:buChar char="•"/>
            </a:pPr>
            <a:r>
              <a:rPr lang="en-GB" dirty="0"/>
              <a:t>e.g. Flag when the last meeting date is before the first meeting date</a:t>
            </a:r>
          </a:p>
          <a:p>
            <a:endParaRPr lang="en-GB" dirty="0"/>
          </a:p>
        </p:txBody>
      </p:sp>
      <p:sp>
        <p:nvSpPr>
          <p:cNvPr id="5" name="Rectangle: Rounded Corners 4">
            <a:extLst>
              <a:ext uri="{FF2B5EF4-FFF2-40B4-BE49-F238E27FC236}">
                <a16:creationId xmlns:a16="http://schemas.microsoft.com/office/drawing/2014/main" id="{8A1C2F97-2248-4526-9E79-78B1FE4A34DE}"/>
              </a:ext>
            </a:extLst>
          </p:cNvPr>
          <p:cNvSpPr/>
          <p:nvPr/>
        </p:nvSpPr>
        <p:spPr>
          <a:xfrm>
            <a:off x="710229" y="5186748"/>
            <a:ext cx="10462596" cy="1379226"/>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dirty="0"/>
              <a:t>The cleaner the data, the more accurately models can represent the mechanics of your business, and therefore improve the insights that can be derived from your data.</a:t>
            </a:r>
          </a:p>
          <a:p>
            <a:endParaRPr lang="en-GB" sz="500" dirty="0"/>
          </a:p>
          <a:p>
            <a:r>
              <a:rPr lang="en-GB" dirty="0"/>
              <a:t>It could also be beneficial to capture additional fields in systems, along with creating new data streams (e.g. NPS) as these could also lead to additional insights from the analysis.</a:t>
            </a:r>
          </a:p>
        </p:txBody>
      </p:sp>
    </p:spTree>
    <p:extLst>
      <p:ext uri="{BB962C8B-B14F-4D97-AF65-F5344CB8AC3E}">
        <p14:creationId xmlns:p14="http://schemas.microsoft.com/office/powerpoint/2010/main" val="2399614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A8CD564-6A2D-4064-B9AD-DEC4A23B0A04}"/>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 </a:t>
            </a:r>
            <a:r>
              <a:rPr lang="en-US" dirty="0" err="1"/>
              <a:t>aways</a:t>
            </a:r>
            <a:r>
              <a:rPr lang="en-US" dirty="0"/>
              <a:t> – to adapt</a:t>
            </a:r>
          </a:p>
        </p:txBody>
      </p:sp>
    </p:spTree>
    <p:extLst>
      <p:ext uri="{BB962C8B-B14F-4D97-AF65-F5344CB8AC3E}">
        <p14:creationId xmlns:p14="http://schemas.microsoft.com/office/powerpoint/2010/main" val="717555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708F328-23C5-46FE-9ADA-F3D6951F5035}"/>
              </a:ext>
            </a:extLst>
          </p:cNvPr>
          <p:cNvSpPr>
            <a:spLocks noGrp="1"/>
          </p:cNvSpPr>
          <p:nvPr>
            <p:ph type="body" sz="quarter" idx="10"/>
          </p:nvPr>
        </p:nvSpPr>
        <p:spPr>
          <a:xfrm>
            <a:off x="1214299" y="1792909"/>
            <a:ext cx="10545901" cy="3223591"/>
          </a:xfrm>
        </p:spPr>
        <p:txBody>
          <a:bodyPr/>
          <a:lstStyle/>
          <a:p>
            <a:r>
              <a:rPr lang="it-IT" sz="6000"/>
              <a:t>Q&amp;A </a:t>
            </a:r>
            <a:endParaRPr lang="en-US" sz="6000"/>
          </a:p>
          <a:p>
            <a:endParaRPr lang="it-IT" sz="5400" b="0"/>
          </a:p>
          <a:p>
            <a:r>
              <a:rPr lang="it-IT" sz="4400" b="0"/>
              <a:t>Thank </a:t>
            </a:r>
            <a:r>
              <a:rPr lang="it-IT" sz="4400" b="0" err="1"/>
              <a:t>you</a:t>
            </a:r>
            <a:r>
              <a:rPr lang="it-IT" sz="4400" b="0"/>
              <a:t>!</a:t>
            </a:r>
          </a:p>
          <a:p>
            <a:endParaRPr lang="it-IT" sz="6000"/>
          </a:p>
        </p:txBody>
      </p:sp>
    </p:spTree>
    <p:extLst>
      <p:ext uri="{BB962C8B-B14F-4D97-AF65-F5344CB8AC3E}">
        <p14:creationId xmlns:p14="http://schemas.microsoft.com/office/powerpoint/2010/main" val="2742870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Group 1 composition &amp; how we worked together</a:t>
            </a:r>
          </a:p>
          <a:p>
            <a:endParaRPr lang="it-IT" sz="2000" b="1" dirty="0">
              <a:solidFill>
                <a:srgbClr val="752127"/>
              </a:solidFill>
            </a:endParaRPr>
          </a:p>
        </p:txBody>
      </p:sp>
      <p:sp>
        <p:nvSpPr>
          <p:cNvPr id="2" name="Oval 1">
            <a:extLst>
              <a:ext uri="{FF2B5EF4-FFF2-40B4-BE49-F238E27FC236}">
                <a16:creationId xmlns:a16="http://schemas.microsoft.com/office/drawing/2014/main" id="{3CC5C1B2-F9C5-4BE0-B316-D7473F4CBEE7}"/>
              </a:ext>
            </a:extLst>
          </p:cNvPr>
          <p:cNvSpPr/>
          <p:nvPr/>
        </p:nvSpPr>
        <p:spPr>
          <a:xfrm>
            <a:off x="126957"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93EF6924-1207-45D5-B9B9-C9DD6336FDE7}"/>
              </a:ext>
            </a:extLst>
          </p:cNvPr>
          <p:cNvSpPr/>
          <p:nvPr/>
        </p:nvSpPr>
        <p:spPr>
          <a:xfrm>
            <a:off x="4148639"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08CEB1B-7CC3-46D7-AF7E-E481C18A6A3F}"/>
              </a:ext>
            </a:extLst>
          </p:cNvPr>
          <p:cNvSpPr/>
          <p:nvPr/>
        </p:nvSpPr>
        <p:spPr>
          <a:xfrm>
            <a:off x="8170321"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90E8C09-101B-4FED-B231-8766CC8E7FEC}"/>
              </a:ext>
            </a:extLst>
          </p:cNvPr>
          <p:cNvSpPr/>
          <p:nvPr/>
        </p:nvSpPr>
        <p:spPr>
          <a:xfrm>
            <a:off x="2137798"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50D11FA-A7AD-449D-A6DE-8D0EB26F9F63}"/>
              </a:ext>
            </a:extLst>
          </p:cNvPr>
          <p:cNvSpPr/>
          <p:nvPr/>
        </p:nvSpPr>
        <p:spPr>
          <a:xfrm>
            <a:off x="6159480"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uadro de texto 58">
            <a:extLst>
              <a:ext uri="{FF2B5EF4-FFF2-40B4-BE49-F238E27FC236}">
                <a16:creationId xmlns:a16="http://schemas.microsoft.com/office/drawing/2014/main" id="{0899BEDC-A902-48D2-A249-9080B936C86B}"/>
              </a:ext>
            </a:extLst>
          </p:cNvPr>
          <p:cNvSpPr txBox="1">
            <a:spLocks/>
          </p:cNvSpPr>
          <p:nvPr/>
        </p:nvSpPr>
        <p:spPr>
          <a:xfrm>
            <a:off x="96729"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Sebastián Catalán Fuica</a:t>
            </a:r>
          </a:p>
          <a:p>
            <a:pPr lvl="0" algn="ctr">
              <a:defRPr/>
            </a:pPr>
            <a:r>
              <a:rPr lang="it-IT" sz="1400" dirty="0">
                <a:solidFill>
                  <a:prstClr val="black"/>
                </a:solidFill>
                <a:ea typeface="MS Mincho" panose="02020609040205080304" pitchFamily="49" charset="-128"/>
                <a:cs typeface="Times New Roman" panose="02020603050405020304" pitchFamily="18" charset="0"/>
              </a:rPr>
              <a:t>Role</a:t>
            </a:r>
          </a:p>
          <a:p>
            <a:pPr lvl="0" algn="ctr">
              <a:defRPr/>
            </a:pPr>
            <a:r>
              <a:rPr lang="it-IT" sz="1400" dirty="0">
                <a:solidFill>
                  <a:prstClr val="black"/>
                </a:solidFill>
                <a:ea typeface="MS Mincho" panose="02020609040205080304" pitchFamily="49" charset="-128"/>
                <a:cs typeface="Times New Roman" panose="02020603050405020304" pitchFamily="18" charset="0"/>
              </a:rPr>
              <a:t>Afp Planvital Chile</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0" name="Oval 9">
            <a:extLst>
              <a:ext uri="{FF2B5EF4-FFF2-40B4-BE49-F238E27FC236}">
                <a16:creationId xmlns:a16="http://schemas.microsoft.com/office/drawing/2014/main" id="{10054D07-E46F-40D6-857C-A3D98918454A}"/>
              </a:ext>
            </a:extLst>
          </p:cNvPr>
          <p:cNvSpPr/>
          <p:nvPr/>
        </p:nvSpPr>
        <p:spPr>
          <a:xfrm>
            <a:off x="10181162"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uadro de texto 58">
            <a:extLst>
              <a:ext uri="{FF2B5EF4-FFF2-40B4-BE49-F238E27FC236}">
                <a16:creationId xmlns:a16="http://schemas.microsoft.com/office/drawing/2014/main" id="{C5709DD1-A1C6-48DC-A3D0-8A59591C6CDF}"/>
              </a:ext>
            </a:extLst>
          </p:cNvPr>
          <p:cNvSpPr txBox="1">
            <a:spLocks/>
          </p:cNvSpPr>
          <p:nvPr/>
        </p:nvSpPr>
        <p:spPr>
          <a:xfrm>
            <a:off x="210757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loriane Hernalsteens</a:t>
            </a:r>
          </a:p>
          <a:p>
            <a:pPr lvl="0" algn="ctr">
              <a:defRPr/>
            </a:pPr>
            <a:r>
              <a:rPr lang="it-IT" sz="1400" dirty="0">
                <a:solidFill>
                  <a:prstClr val="black"/>
                </a:solidFill>
                <a:ea typeface="MS Mincho" panose="02020609040205080304" pitchFamily="49" charset="-128"/>
                <a:cs typeface="Times New Roman" panose="02020603050405020304" pitchFamily="18" charset="0"/>
              </a:rPr>
              <a:t>Role</a:t>
            </a:r>
          </a:p>
          <a:p>
            <a:pPr lvl="0" algn="ctr">
              <a:defRPr/>
            </a:pPr>
            <a:r>
              <a:rPr lang="it-IT" sz="1400" dirty="0">
                <a:solidFill>
                  <a:prstClr val="black"/>
                </a:solidFill>
                <a:ea typeface="MS Mincho" panose="02020609040205080304" pitchFamily="49" charset="-128"/>
                <a:cs typeface="Times New Roman" panose="02020603050405020304" pitchFamily="18" charset="0"/>
              </a:rPr>
              <a:t>Europ Assistance Belgium</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4" name="Cuadro de texto 58">
            <a:extLst>
              <a:ext uri="{FF2B5EF4-FFF2-40B4-BE49-F238E27FC236}">
                <a16:creationId xmlns:a16="http://schemas.microsoft.com/office/drawing/2014/main" id="{B251CB5D-FC80-4693-8C17-150C777226AD}"/>
              </a:ext>
            </a:extLst>
          </p:cNvPr>
          <p:cNvSpPr txBox="1">
            <a:spLocks/>
          </p:cNvSpPr>
          <p:nvPr/>
        </p:nvSpPr>
        <p:spPr>
          <a:xfrm>
            <a:off x="4118411"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Roman Hospodá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Czech Republic</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5" name="Cuadro de texto 58">
            <a:extLst>
              <a:ext uri="{FF2B5EF4-FFF2-40B4-BE49-F238E27FC236}">
                <a16:creationId xmlns:a16="http://schemas.microsoft.com/office/drawing/2014/main" id="{5AFC64E7-F785-49AA-B5E6-47B97215E571}"/>
              </a:ext>
            </a:extLst>
          </p:cNvPr>
          <p:cNvSpPr txBox="1">
            <a:spLocks/>
          </p:cNvSpPr>
          <p:nvPr/>
        </p:nvSpPr>
        <p:spPr>
          <a:xfrm>
            <a:off x="6129252"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Oliver Manara</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German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6" name="Cuadro de texto 58">
            <a:extLst>
              <a:ext uri="{FF2B5EF4-FFF2-40B4-BE49-F238E27FC236}">
                <a16:creationId xmlns:a16="http://schemas.microsoft.com/office/drawing/2014/main" id="{11E47EF7-53C5-4490-9216-2B3373BB2C54}"/>
              </a:ext>
            </a:extLst>
          </p:cNvPr>
          <p:cNvSpPr txBox="1">
            <a:spLocks/>
          </p:cNvSpPr>
          <p:nvPr/>
        </p:nvSpPr>
        <p:spPr>
          <a:xfrm>
            <a:off x="814009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ederico Sportelli</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Ital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7" name="Cuadro de texto 58">
            <a:extLst>
              <a:ext uri="{FF2B5EF4-FFF2-40B4-BE49-F238E27FC236}">
                <a16:creationId xmlns:a16="http://schemas.microsoft.com/office/drawing/2014/main" id="{7E509E72-9DED-4379-B86C-B39829F78583}"/>
              </a:ext>
            </a:extLst>
          </p:cNvPr>
          <p:cNvSpPr txBox="1">
            <a:spLocks/>
          </p:cNvSpPr>
          <p:nvPr/>
        </p:nvSpPr>
        <p:spPr>
          <a:xfrm>
            <a:off x="10150934"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Lee Thompson</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UK</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8" name="Cuadro de texto 58">
            <a:extLst>
              <a:ext uri="{FF2B5EF4-FFF2-40B4-BE49-F238E27FC236}">
                <a16:creationId xmlns:a16="http://schemas.microsoft.com/office/drawing/2014/main" id="{7E535DF9-7328-4181-B21A-2F1F9E7509E3}"/>
              </a:ext>
            </a:extLst>
          </p:cNvPr>
          <p:cNvSpPr txBox="1">
            <a:spLocks/>
          </p:cNvSpPr>
          <p:nvPr/>
        </p:nvSpPr>
        <p:spPr>
          <a:xfrm>
            <a:off x="9672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9" name="Cuadro de texto 58">
            <a:extLst>
              <a:ext uri="{FF2B5EF4-FFF2-40B4-BE49-F238E27FC236}">
                <a16:creationId xmlns:a16="http://schemas.microsoft.com/office/drawing/2014/main" id="{8C0B60E9-873C-44B2-908B-CDDEA4A33923}"/>
              </a:ext>
            </a:extLst>
          </p:cNvPr>
          <p:cNvSpPr txBox="1">
            <a:spLocks/>
          </p:cNvSpPr>
          <p:nvPr/>
        </p:nvSpPr>
        <p:spPr>
          <a:xfrm>
            <a:off x="211576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0" name="Cuadro de texto 58">
            <a:extLst>
              <a:ext uri="{FF2B5EF4-FFF2-40B4-BE49-F238E27FC236}">
                <a16:creationId xmlns:a16="http://schemas.microsoft.com/office/drawing/2014/main" id="{D60DEAFD-5102-434E-BE3C-253178AEF2DB}"/>
              </a:ext>
            </a:extLst>
          </p:cNvPr>
          <p:cNvSpPr txBox="1">
            <a:spLocks/>
          </p:cNvSpPr>
          <p:nvPr/>
        </p:nvSpPr>
        <p:spPr>
          <a:xfrm>
            <a:off x="41186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1" name="Cuadro de texto 58">
            <a:extLst>
              <a:ext uri="{FF2B5EF4-FFF2-40B4-BE49-F238E27FC236}">
                <a16:creationId xmlns:a16="http://schemas.microsoft.com/office/drawing/2014/main" id="{292B20F6-28B7-4349-B195-A3ED551F5D67}"/>
              </a:ext>
            </a:extLst>
          </p:cNvPr>
          <p:cNvSpPr txBox="1">
            <a:spLocks/>
          </p:cNvSpPr>
          <p:nvPr/>
        </p:nvSpPr>
        <p:spPr>
          <a:xfrm>
            <a:off x="614046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2" name="Cuadro de texto 58">
            <a:extLst>
              <a:ext uri="{FF2B5EF4-FFF2-40B4-BE49-F238E27FC236}">
                <a16:creationId xmlns:a16="http://schemas.microsoft.com/office/drawing/2014/main" id="{0649794C-1985-41F4-87F4-127427124605}"/>
              </a:ext>
            </a:extLst>
          </p:cNvPr>
          <p:cNvSpPr txBox="1">
            <a:spLocks/>
          </p:cNvSpPr>
          <p:nvPr/>
        </p:nvSpPr>
        <p:spPr>
          <a:xfrm>
            <a:off x="815150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3" name="Cuadro de texto 58">
            <a:extLst>
              <a:ext uri="{FF2B5EF4-FFF2-40B4-BE49-F238E27FC236}">
                <a16:creationId xmlns:a16="http://schemas.microsoft.com/office/drawing/2014/main" id="{6EE1DD28-9C4F-43A6-8E3F-95B0E0705EA6}"/>
              </a:ext>
            </a:extLst>
          </p:cNvPr>
          <p:cNvSpPr txBox="1">
            <a:spLocks/>
          </p:cNvSpPr>
          <p:nvPr/>
        </p:nvSpPr>
        <p:spPr>
          <a:xfrm>
            <a:off x="101481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pic>
        <p:nvPicPr>
          <p:cNvPr id="4" name="Picture 3">
            <a:extLst>
              <a:ext uri="{FF2B5EF4-FFF2-40B4-BE49-F238E27FC236}">
                <a16:creationId xmlns:a16="http://schemas.microsoft.com/office/drawing/2014/main" id="{5F42F142-18B3-4125-8AC4-B5AF419B1FED}"/>
              </a:ext>
            </a:extLst>
          </p:cNvPr>
          <p:cNvPicPr>
            <a:picLocks noChangeAspect="1"/>
          </p:cNvPicPr>
          <p:nvPr/>
        </p:nvPicPr>
        <p:blipFill>
          <a:blip r:embed="rId3"/>
          <a:stretch>
            <a:fillRect/>
          </a:stretch>
        </p:blipFill>
        <p:spPr>
          <a:xfrm>
            <a:off x="448940" y="2391877"/>
            <a:ext cx="1239917" cy="1215971"/>
          </a:xfrm>
          <a:prstGeom prst="rect">
            <a:avLst/>
          </a:prstGeom>
        </p:spPr>
      </p:pic>
      <p:pic>
        <p:nvPicPr>
          <p:cNvPr id="11" name="Picture 10">
            <a:extLst>
              <a:ext uri="{FF2B5EF4-FFF2-40B4-BE49-F238E27FC236}">
                <a16:creationId xmlns:a16="http://schemas.microsoft.com/office/drawing/2014/main" id="{32CFBD52-480F-4F39-9FE8-6CCBF5820ACC}"/>
              </a:ext>
            </a:extLst>
          </p:cNvPr>
          <p:cNvPicPr>
            <a:picLocks noChangeAspect="1"/>
          </p:cNvPicPr>
          <p:nvPr/>
        </p:nvPicPr>
        <p:blipFill>
          <a:blip r:embed="rId4"/>
          <a:stretch>
            <a:fillRect/>
          </a:stretch>
        </p:blipFill>
        <p:spPr>
          <a:xfrm>
            <a:off x="2467503" y="2391877"/>
            <a:ext cx="1240856" cy="1216152"/>
          </a:xfrm>
          <a:prstGeom prst="rect">
            <a:avLst/>
          </a:prstGeom>
        </p:spPr>
      </p:pic>
      <p:pic>
        <p:nvPicPr>
          <p:cNvPr id="12" name="Picture 11">
            <a:extLst>
              <a:ext uri="{FF2B5EF4-FFF2-40B4-BE49-F238E27FC236}">
                <a16:creationId xmlns:a16="http://schemas.microsoft.com/office/drawing/2014/main" id="{9A00BC9C-24D8-41C2-90DF-1BEC095C0DDB}"/>
              </a:ext>
            </a:extLst>
          </p:cNvPr>
          <p:cNvPicPr>
            <a:picLocks noChangeAspect="1"/>
          </p:cNvPicPr>
          <p:nvPr/>
        </p:nvPicPr>
        <p:blipFill>
          <a:blip r:embed="rId5"/>
          <a:stretch>
            <a:fillRect/>
          </a:stretch>
        </p:blipFill>
        <p:spPr>
          <a:xfrm>
            <a:off x="4464222" y="2416375"/>
            <a:ext cx="1252717" cy="1212227"/>
          </a:xfrm>
          <a:prstGeom prst="rect">
            <a:avLst/>
          </a:prstGeom>
        </p:spPr>
      </p:pic>
      <p:pic>
        <p:nvPicPr>
          <p:cNvPr id="26" name="Picture 25">
            <a:extLst>
              <a:ext uri="{FF2B5EF4-FFF2-40B4-BE49-F238E27FC236}">
                <a16:creationId xmlns:a16="http://schemas.microsoft.com/office/drawing/2014/main" id="{D06F9E93-33DF-44F9-A66E-F8D72B79044F}"/>
              </a:ext>
            </a:extLst>
          </p:cNvPr>
          <p:cNvPicPr>
            <a:picLocks noChangeAspect="1"/>
          </p:cNvPicPr>
          <p:nvPr/>
        </p:nvPicPr>
        <p:blipFill>
          <a:blip r:embed="rId6"/>
          <a:stretch>
            <a:fillRect/>
          </a:stretch>
        </p:blipFill>
        <p:spPr>
          <a:xfrm>
            <a:off x="6492588" y="2414413"/>
            <a:ext cx="1240101" cy="1216152"/>
          </a:xfrm>
          <a:prstGeom prst="rect">
            <a:avLst/>
          </a:prstGeom>
        </p:spPr>
      </p:pic>
      <p:pic>
        <p:nvPicPr>
          <p:cNvPr id="28" name="Picture 27">
            <a:extLst>
              <a:ext uri="{FF2B5EF4-FFF2-40B4-BE49-F238E27FC236}">
                <a16:creationId xmlns:a16="http://schemas.microsoft.com/office/drawing/2014/main" id="{F69D10B2-5B53-4980-8ED9-BD77E371377B}"/>
              </a:ext>
            </a:extLst>
          </p:cNvPr>
          <p:cNvPicPr>
            <a:picLocks noChangeAspect="1"/>
          </p:cNvPicPr>
          <p:nvPr/>
        </p:nvPicPr>
        <p:blipFill>
          <a:blip r:embed="rId7"/>
          <a:stretch>
            <a:fillRect/>
          </a:stretch>
        </p:blipFill>
        <p:spPr>
          <a:xfrm>
            <a:off x="8501727" y="2414413"/>
            <a:ext cx="1216152" cy="1204029"/>
          </a:xfrm>
          <a:prstGeom prst="rect">
            <a:avLst/>
          </a:prstGeom>
        </p:spPr>
      </p:pic>
      <p:pic>
        <p:nvPicPr>
          <p:cNvPr id="29" name="Picture 28">
            <a:extLst>
              <a:ext uri="{FF2B5EF4-FFF2-40B4-BE49-F238E27FC236}">
                <a16:creationId xmlns:a16="http://schemas.microsoft.com/office/drawing/2014/main" id="{0F94B2F6-4FDA-42E5-807E-57B69E4D31DB}"/>
              </a:ext>
            </a:extLst>
          </p:cNvPr>
          <p:cNvPicPr>
            <a:picLocks noChangeAspect="1"/>
          </p:cNvPicPr>
          <p:nvPr/>
        </p:nvPicPr>
        <p:blipFill>
          <a:blip r:embed="rId8"/>
          <a:stretch>
            <a:fillRect/>
          </a:stretch>
        </p:blipFill>
        <p:spPr>
          <a:xfrm>
            <a:off x="10512205" y="2418195"/>
            <a:ext cx="1216152" cy="1189834"/>
          </a:xfrm>
          <a:prstGeom prst="rect">
            <a:avLst/>
          </a:prstGeom>
        </p:spPr>
      </p:pic>
      <p:sp>
        <p:nvSpPr>
          <p:cNvPr id="30" name="Title 4">
            <a:extLst>
              <a:ext uri="{FF2B5EF4-FFF2-40B4-BE49-F238E27FC236}">
                <a16:creationId xmlns:a16="http://schemas.microsoft.com/office/drawing/2014/main" id="{46AFD74F-6AE2-4926-A06E-852688462454}"/>
              </a:ext>
            </a:extLst>
          </p:cNvPr>
          <p:cNvSpPr txBox="1">
            <a:spLocks/>
          </p:cNvSpPr>
          <p:nvPr/>
        </p:nvSpPr>
        <p:spPr>
          <a:xfrm>
            <a:off x="3551871" y="5730651"/>
            <a:ext cx="6502334"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Arial" panose="020B0604020202020204" pitchFamily="34" charset="0"/>
              <a:buChar char="•"/>
            </a:pPr>
            <a:r>
              <a:rPr lang="en-US" sz="1400" dirty="0">
                <a:solidFill>
                  <a:srgbClr val="752127"/>
                </a:solidFill>
              </a:rPr>
              <a:t>Weekly team meetings (1x or 2x a week)</a:t>
            </a:r>
          </a:p>
          <a:p>
            <a:pPr marL="285750" indent="-285750">
              <a:buFont typeface="Arial" panose="020B0604020202020204" pitchFamily="34" charset="0"/>
              <a:buChar char="•"/>
            </a:pPr>
            <a:r>
              <a:rPr lang="en-US" sz="1400" dirty="0">
                <a:solidFill>
                  <a:srgbClr val="752127"/>
                </a:solidFill>
              </a:rPr>
              <a:t>Teams channel, </a:t>
            </a:r>
            <a:r>
              <a:rPr lang="en-US" sz="1400" dirty="0" err="1">
                <a:solidFill>
                  <a:srgbClr val="752127"/>
                </a:solidFill>
              </a:rPr>
              <a:t>Github</a:t>
            </a:r>
            <a:r>
              <a:rPr lang="en-US" sz="1400" dirty="0">
                <a:solidFill>
                  <a:srgbClr val="752127"/>
                </a:solidFill>
              </a:rPr>
              <a:t> repository &amp; </a:t>
            </a:r>
            <a:r>
              <a:rPr lang="en-US" sz="1400" dirty="0" err="1">
                <a:solidFill>
                  <a:srgbClr val="752127"/>
                </a:solidFill>
              </a:rPr>
              <a:t>Whatsapp</a:t>
            </a:r>
            <a:r>
              <a:rPr lang="en-US" sz="1400" dirty="0">
                <a:solidFill>
                  <a:srgbClr val="752127"/>
                </a:solidFill>
              </a:rPr>
              <a:t> group</a:t>
            </a:r>
          </a:p>
          <a:p>
            <a:pPr marL="285750" indent="-285750">
              <a:buFont typeface="Arial" panose="020B0604020202020204" pitchFamily="34" charset="0"/>
              <a:buChar char="•"/>
            </a:pPr>
            <a:r>
              <a:rPr lang="en-US" sz="1400" dirty="0">
                <a:solidFill>
                  <a:srgbClr val="752127"/>
                </a:solidFill>
              </a:rPr>
              <a:t>Work division according to level of expertise &amp; interest</a:t>
            </a:r>
          </a:p>
        </p:txBody>
      </p:sp>
      <p:sp>
        <p:nvSpPr>
          <p:cNvPr id="31" name="Rectangle: Rounded Corners 30">
            <a:extLst>
              <a:ext uri="{FF2B5EF4-FFF2-40B4-BE49-F238E27FC236}">
                <a16:creationId xmlns:a16="http://schemas.microsoft.com/office/drawing/2014/main" id="{12650C0C-3ABE-42E6-8D66-1E7DD97B780C}"/>
              </a:ext>
            </a:extLst>
          </p:cNvPr>
          <p:cNvSpPr/>
          <p:nvPr/>
        </p:nvSpPr>
        <p:spPr>
          <a:xfrm>
            <a:off x="9590061" y="661996"/>
            <a:ext cx="1530220"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apt roles</a:t>
            </a:r>
          </a:p>
        </p:txBody>
      </p:sp>
    </p:spTree>
    <p:extLst>
      <p:ext uri="{BB962C8B-B14F-4D97-AF65-F5344CB8AC3E}">
        <p14:creationId xmlns:p14="http://schemas.microsoft.com/office/powerpoint/2010/main" val="890566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p>
          <a:p>
            <a:endParaRPr lang="it-IT" sz="2000" b="1" dirty="0">
              <a:solidFill>
                <a:srgbClr val="752127"/>
              </a:solidFill>
            </a:endParaRPr>
          </a:p>
          <a:p>
            <a:r>
              <a:rPr lang="it-IT" sz="2600" b="1" dirty="0">
                <a:solidFill>
                  <a:srgbClr val="752127"/>
                </a:solidFill>
              </a:rPr>
              <a:t>«How to </a:t>
            </a:r>
            <a:r>
              <a:rPr lang="it-IT" sz="2600" b="1" dirty="0" err="1">
                <a:solidFill>
                  <a:srgbClr val="752127"/>
                </a:solidFill>
              </a:rPr>
              <a:t>increase</a:t>
            </a:r>
            <a:r>
              <a:rPr lang="it-IT" sz="2600" b="1" dirty="0">
                <a:solidFill>
                  <a:srgbClr val="752127"/>
                </a:solidFill>
              </a:rPr>
              <a:t> the customer </a:t>
            </a:r>
            <a:r>
              <a:rPr lang="it-IT" sz="2600" b="1" dirty="0" err="1">
                <a:solidFill>
                  <a:srgbClr val="752127"/>
                </a:solidFill>
              </a:rPr>
              <a:t>retention</a:t>
            </a:r>
            <a:r>
              <a:rPr lang="it-IT" sz="2600" b="1" dirty="0">
                <a:solidFill>
                  <a:srgbClr val="752127"/>
                </a:solidFill>
              </a:rPr>
              <a:t> for a travel agency»</a:t>
            </a:r>
          </a:p>
        </p:txBody>
      </p:sp>
      <p:cxnSp>
        <p:nvCxnSpPr>
          <p:cNvPr id="4" name="AutoShape 23">
            <a:extLst>
              <a:ext uri="{FF2B5EF4-FFF2-40B4-BE49-F238E27FC236}">
                <a16:creationId xmlns:a16="http://schemas.microsoft.com/office/drawing/2014/main" id="{04EAAADD-64C3-49C2-A6D2-47B3B00ABB74}"/>
              </a:ext>
            </a:extLst>
          </p:cNvPr>
          <p:cNvCxnSpPr>
            <a:cxnSpLocks noChangeShapeType="1"/>
          </p:cNvCxnSpPr>
          <p:nvPr/>
        </p:nvCxnSpPr>
        <p:spPr bwMode="auto">
          <a:xfrm flipH="1">
            <a:off x="3263304" y="3945772"/>
            <a:ext cx="6473038"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cxnSp>
        <p:nvCxnSpPr>
          <p:cNvPr id="5" name="AutoShape 23">
            <a:extLst>
              <a:ext uri="{FF2B5EF4-FFF2-40B4-BE49-F238E27FC236}">
                <a16:creationId xmlns:a16="http://schemas.microsoft.com/office/drawing/2014/main" id="{BF63560B-1921-4A78-BBF3-3205ADE9756C}"/>
              </a:ext>
            </a:extLst>
          </p:cNvPr>
          <p:cNvCxnSpPr>
            <a:cxnSpLocks noChangeShapeType="1"/>
          </p:cNvCxnSpPr>
          <p:nvPr/>
        </p:nvCxnSpPr>
        <p:spPr bwMode="auto">
          <a:xfrm flipH="1">
            <a:off x="3354026" y="6072234"/>
            <a:ext cx="6478037"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sp>
        <p:nvSpPr>
          <p:cNvPr id="6" name="Rechteck 14">
            <a:extLst>
              <a:ext uri="{FF2B5EF4-FFF2-40B4-BE49-F238E27FC236}">
                <a16:creationId xmlns:a16="http://schemas.microsoft.com/office/drawing/2014/main" id="{F5C17855-160C-42D5-81C4-5E32F24B57D9}"/>
              </a:ext>
            </a:extLst>
          </p:cNvPr>
          <p:cNvSpPr>
            <a:spLocks noChangeArrowheads="1"/>
          </p:cNvSpPr>
          <p:nvPr/>
        </p:nvSpPr>
        <p:spPr bwMode="auto">
          <a:xfrm>
            <a:off x="3263304" y="4264750"/>
            <a:ext cx="6568759"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marL="342900" lvl="1" indent="-342900" eaLnBrk="1" hangingPunct="1">
              <a:buClr>
                <a:srgbClr val="C21C1D"/>
              </a:buClr>
              <a:buAutoNum type="arabicParenR"/>
            </a:pP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build</a:t>
            </a:r>
            <a:r>
              <a:rPr lang="de-DE" altLang="de-DE" sz="1500" dirty="0">
                <a:solidFill>
                  <a:srgbClr val="000000"/>
                </a:solidFill>
              </a:rPr>
              <a:t> a </a:t>
            </a:r>
            <a:r>
              <a:rPr lang="de-DE" altLang="de-DE" sz="1500" dirty="0" err="1">
                <a:solidFill>
                  <a:srgbClr val="000000"/>
                </a:solidFill>
              </a:rPr>
              <a:t>modell</a:t>
            </a:r>
            <a:r>
              <a:rPr lang="de-DE" altLang="de-DE" sz="1500" dirty="0">
                <a:solidFill>
                  <a:srgbClr val="000000"/>
                </a:solidFill>
              </a:rPr>
              <a:t> </a:t>
            </a:r>
            <a:r>
              <a:rPr lang="de-DE" altLang="de-DE" sz="1500" dirty="0" err="1">
                <a:solidFill>
                  <a:srgbClr val="000000"/>
                </a:solidFill>
              </a:rPr>
              <a:t>using</a:t>
            </a:r>
            <a:r>
              <a:rPr lang="de-DE" altLang="de-DE" sz="1500" dirty="0">
                <a:solidFill>
                  <a:srgbClr val="000000"/>
                </a:solidFill>
              </a:rPr>
              <a:t> </a:t>
            </a:r>
            <a:r>
              <a:rPr lang="de-DE" altLang="de-DE" sz="1500" dirty="0" err="1">
                <a:solidFill>
                  <a:srgbClr val="000000"/>
                </a:solidFill>
              </a:rPr>
              <a:t>statistical</a:t>
            </a:r>
            <a:r>
              <a:rPr lang="de-DE" altLang="de-DE" sz="1500" dirty="0">
                <a:solidFill>
                  <a:srgbClr val="000000"/>
                </a:solidFill>
              </a:rPr>
              <a:t> </a:t>
            </a:r>
            <a:r>
              <a:rPr lang="de-DE" altLang="de-DE" sz="1500" dirty="0" err="1">
                <a:solidFill>
                  <a:srgbClr val="000000"/>
                </a:solidFill>
              </a:rPr>
              <a:t>method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predict</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robability</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 </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booking</a:t>
            </a:r>
            <a:r>
              <a:rPr lang="de-DE" altLang="de-DE" sz="1500" dirty="0">
                <a:solidFill>
                  <a:srgbClr val="000000"/>
                </a:solidFill>
              </a:rPr>
              <a:t> </a:t>
            </a:r>
            <a:r>
              <a:rPr lang="de-DE" altLang="de-DE" sz="1500" dirty="0" err="1">
                <a:solidFill>
                  <a:srgbClr val="000000"/>
                </a:solidFill>
              </a:rPr>
              <a:t>again</a:t>
            </a:r>
            <a:r>
              <a:rPr lang="de-DE" altLang="de-DE" sz="1500" dirty="0">
                <a:solidFill>
                  <a:srgbClr val="000000"/>
                </a:solidFill>
              </a:rPr>
              <a:t> a </a:t>
            </a:r>
            <a:r>
              <a:rPr lang="de-DE" altLang="de-DE" sz="1500" dirty="0" err="1">
                <a:solidFill>
                  <a:srgbClr val="000000"/>
                </a:solidFill>
              </a:rPr>
              <a:t>trip</a:t>
            </a:r>
            <a:r>
              <a:rPr lang="de-DE" altLang="de-DE" sz="1500" dirty="0">
                <a:solidFill>
                  <a:srgbClr val="000000"/>
                </a:solidFill>
              </a:rPr>
              <a:t> </a:t>
            </a:r>
            <a:r>
              <a:rPr lang="de-DE" altLang="de-DE" sz="1500" dirty="0" err="1">
                <a:solidFill>
                  <a:srgbClr val="000000"/>
                </a:solidFill>
              </a:rPr>
              <a:t>based</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behavior</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similar</a:t>
            </a:r>
            <a:r>
              <a:rPr lang="de-DE" altLang="de-DE" sz="1500" dirty="0">
                <a:solidFill>
                  <a:srgbClr val="000000"/>
                </a:solidFill>
              </a:rPr>
              <a:t> </a:t>
            </a:r>
            <a:r>
              <a:rPr lang="de-DE" altLang="de-DE" sz="1500" dirty="0" err="1">
                <a:solidFill>
                  <a:srgbClr val="000000"/>
                </a:solidFill>
              </a:rPr>
              <a:t>clients</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ast</a:t>
            </a:r>
            <a:br>
              <a:rPr lang="de-DE" altLang="de-DE" sz="1500" dirty="0">
                <a:solidFill>
                  <a:srgbClr val="000000"/>
                </a:solidFill>
              </a:rPr>
            </a:br>
            <a:endParaRPr lang="de-DE" altLang="de-DE" sz="1500" dirty="0">
              <a:solidFill>
                <a:srgbClr val="000000"/>
              </a:solidFill>
            </a:endParaRPr>
          </a:p>
          <a:p>
            <a:pPr marL="342900" lvl="1" indent="-342900" eaLnBrk="1" hangingPunct="1">
              <a:buClr>
                <a:srgbClr val="C21C1D"/>
              </a:buClr>
              <a:buAutoNum type="arabicParenR"/>
            </a:pPr>
            <a:r>
              <a:rPr lang="de-DE" altLang="de-DE" sz="1500" dirty="0" err="1">
                <a:solidFill>
                  <a:srgbClr val="000000"/>
                </a:solidFill>
              </a:rPr>
              <a:t>assembling</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recast</a:t>
            </a:r>
            <a:r>
              <a:rPr lang="de-DE" altLang="de-DE" sz="1500" dirty="0">
                <a:solidFill>
                  <a:srgbClr val="000000"/>
                </a:solidFill>
              </a:rPr>
              <a:t> </a:t>
            </a: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figure</a:t>
            </a:r>
            <a:r>
              <a:rPr lang="de-DE" altLang="de-DE" sz="1500" dirty="0">
                <a:solidFill>
                  <a:srgbClr val="000000"/>
                </a:solidFill>
              </a:rPr>
              <a:t> out </a:t>
            </a:r>
            <a:r>
              <a:rPr lang="de-DE" altLang="de-DE" sz="1500" dirty="0" err="1">
                <a:solidFill>
                  <a:srgbClr val="000000"/>
                </a:solidFill>
              </a:rPr>
              <a:t>the</a:t>
            </a:r>
            <a:r>
              <a:rPr lang="de-DE" altLang="de-DE" sz="1500" dirty="0">
                <a:solidFill>
                  <a:srgbClr val="000000"/>
                </a:solidFill>
              </a:rPr>
              <a:t> positive and negative </a:t>
            </a:r>
            <a:r>
              <a:rPr lang="de-DE" altLang="de-DE" sz="1500" dirty="0" err="1">
                <a:solidFill>
                  <a:srgbClr val="000000"/>
                </a:solidFill>
              </a:rPr>
              <a:t>key</a:t>
            </a:r>
            <a:r>
              <a:rPr lang="de-DE" altLang="de-DE" sz="1500" dirty="0">
                <a:solidFill>
                  <a:srgbClr val="000000"/>
                </a:solidFill>
              </a:rPr>
              <a:t> </a:t>
            </a:r>
            <a:r>
              <a:rPr lang="de-DE" altLang="de-DE" sz="1500" dirty="0" err="1">
                <a:solidFill>
                  <a:srgbClr val="000000"/>
                </a:solidFill>
              </a:rPr>
              <a:t>drivers</a:t>
            </a:r>
            <a:r>
              <a:rPr lang="de-DE" altLang="de-DE" sz="1500" dirty="0">
                <a:solidFill>
                  <a:srgbClr val="000000"/>
                </a:solidFill>
              </a:rPr>
              <a:t> &amp; </a:t>
            </a:r>
            <a:r>
              <a:rPr lang="de-DE" altLang="de-DE" sz="1500" dirty="0" err="1">
                <a:solidFill>
                  <a:srgbClr val="000000"/>
                </a:solidFill>
              </a:rPr>
              <a:t>derive</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retention</a:t>
            </a:r>
            <a:endParaRPr lang="de-DE" altLang="de-DE" sz="1500" dirty="0">
              <a:solidFill>
                <a:srgbClr val="000000"/>
              </a:solidFill>
            </a:endParaRPr>
          </a:p>
        </p:txBody>
      </p:sp>
      <p:pic>
        <p:nvPicPr>
          <p:cNvPr id="7" name="Bild 11">
            <a:extLst>
              <a:ext uri="{FF2B5EF4-FFF2-40B4-BE49-F238E27FC236}">
                <a16:creationId xmlns:a16="http://schemas.microsoft.com/office/drawing/2014/main" id="{3D12EF7B-DD49-4DAA-9EF8-25408F824F9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7887" y="3539906"/>
            <a:ext cx="1861113" cy="251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14">
            <a:extLst>
              <a:ext uri="{FF2B5EF4-FFF2-40B4-BE49-F238E27FC236}">
                <a16:creationId xmlns:a16="http://schemas.microsoft.com/office/drawing/2014/main" id="{C0CDCE6C-56DD-4D8C-9204-150AB1BB5D53}"/>
              </a:ext>
            </a:extLst>
          </p:cNvPr>
          <p:cNvSpPr>
            <a:spLocks noChangeArrowheads="1"/>
          </p:cNvSpPr>
          <p:nvPr/>
        </p:nvSpPr>
        <p:spPr bwMode="auto">
          <a:xfrm>
            <a:off x="723525" y="2042743"/>
            <a:ext cx="962883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group</a:t>
            </a:r>
            <a:r>
              <a:rPr lang="de-DE" altLang="de-DE" sz="1500" dirty="0">
                <a:solidFill>
                  <a:srgbClr val="000000"/>
                </a:solidFill>
              </a:rPr>
              <a:t> </a:t>
            </a:r>
            <a:r>
              <a:rPr lang="de-DE" altLang="de-DE" sz="1500" dirty="0" err="1">
                <a:solidFill>
                  <a:srgbClr val="000000"/>
                </a:solidFill>
              </a:rPr>
              <a:t>consults</a:t>
            </a:r>
            <a:r>
              <a:rPr lang="de-DE" altLang="de-DE" sz="1500" dirty="0">
                <a:solidFill>
                  <a:srgbClr val="000000"/>
                </a:solidFill>
              </a:rPr>
              <a:t> an </a:t>
            </a:r>
            <a:r>
              <a:rPr lang="de-DE" altLang="de-DE" sz="1500" dirty="0" err="1">
                <a:solidFill>
                  <a:srgbClr val="000000"/>
                </a:solidFill>
              </a:rPr>
              <a:t>agency</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provides</a:t>
            </a:r>
            <a:r>
              <a:rPr lang="de-DE" altLang="de-DE" sz="1500" dirty="0">
                <a:solidFill>
                  <a:srgbClr val="000000"/>
                </a:solidFill>
              </a:rPr>
              <a:t> school-trips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various</a:t>
            </a:r>
            <a:r>
              <a:rPr lang="de-DE" altLang="de-DE" sz="1500" dirty="0">
                <a:solidFill>
                  <a:srgbClr val="000000"/>
                </a:solidFill>
              </a:rPr>
              <a:t> grades/</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types</a:t>
            </a:r>
            <a:r>
              <a:rPr lang="de-DE" altLang="de-DE" sz="1500" dirty="0">
                <a:solidFill>
                  <a:srgbClr val="000000"/>
                </a:solidFill>
              </a:rPr>
              <a:t> &amp; </a:t>
            </a:r>
            <a:r>
              <a:rPr lang="de-DE" altLang="de-DE" sz="1500" dirty="0" err="1">
                <a:solidFill>
                  <a:srgbClr val="000000"/>
                </a:solidFill>
              </a:rPr>
              <a:t>sorts</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avel</a:t>
            </a:r>
            <a:r>
              <a:rPr lang="de-DE" altLang="de-DE" sz="1500" dirty="0">
                <a:solidFill>
                  <a:srgbClr val="000000"/>
                </a:solidFill>
              </a:rPr>
              <a:t>)</a:t>
            </a:r>
            <a:br>
              <a:rPr lang="de-DE" altLang="de-DE" sz="1500" dirty="0">
                <a:solidFill>
                  <a:srgbClr val="000000"/>
                </a:solidFill>
              </a:rPr>
            </a:br>
            <a:endParaRPr lang="de-DE" altLang="de-DE" sz="1500" dirty="0">
              <a:solidFill>
                <a:srgbClr val="000000"/>
              </a:solidFill>
            </a:endParaRPr>
          </a:p>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aim</a:t>
            </a:r>
            <a:r>
              <a:rPr lang="de-DE" altLang="de-DE" sz="1500" dirty="0">
                <a:solidFill>
                  <a:srgbClr val="000000"/>
                </a:solidFill>
              </a:rPr>
              <a:t> </a:t>
            </a:r>
            <a:r>
              <a:rPr lang="de-DE" altLang="de-DE" sz="1500" dirty="0" err="1">
                <a:solidFill>
                  <a:srgbClr val="000000"/>
                </a:solidFill>
              </a:rPr>
              <a:t>i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ercentage</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ips</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are</a:t>
            </a:r>
            <a:r>
              <a:rPr lang="de-DE" altLang="de-DE" sz="1500" dirty="0">
                <a:solidFill>
                  <a:srgbClr val="000000"/>
                </a:solidFill>
              </a:rPr>
              <a:t> </a:t>
            </a:r>
            <a:r>
              <a:rPr lang="de-DE" altLang="de-DE" sz="1500" dirty="0" err="1">
                <a:solidFill>
                  <a:srgbClr val="000000"/>
                </a:solidFill>
              </a:rPr>
              <a:t>rebooked</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llowing</a:t>
            </a:r>
            <a:r>
              <a:rPr lang="de-DE" altLang="de-DE" sz="1500" dirty="0">
                <a:solidFill>
                  <a:srgbClr val="000000"/>
                </a:solidFill>
              </a:rPr>
              <a:t> </a:t>
            </a:r>
            <a:r>
              <a:rPr lang="de-DE" altLang="de-DE" sz="1500" dirty="0" err="1">
                <a:solidFill>
                  <a:srgbClr val="000000"/>
                </a:solidFill>
              </a:rPr>
              <a:t>year</a:t>
            </a:r>
            <a:br>
              <a:rPr lang="de-DE" altLang="de-DE" sz="1500" dirty="0">
                <a:solidFill>
                  <a:srgbClr val="000000"/>
                </a:solidFill>
              </a:rPr>
            </a:br>
            <a:r>
              <a:rPr lang="de-DE" altLang="de-DE" sz="1500" dirty="0" err="1">
                <a:solidFill>
                  <a:srgbClr val="000000"/>
                </a:solidFill>
              </a:rPr>
              <a:t>by</a:t>
            </a:r>
            <a:r>
              <a:rPr lang="de-DE" altLang="de-DE" sz="1500" dirty="0">
                <a:solidFill>
                  <a:srgbClr val="000000"/>
                </a:solidFill>
              </a:rPr>
              <a:t> </a:t>
            </a:r>
            <a:r>
              <a:rPr lang="de-DE" altLang="de-DE" sz="1500" dirty="0" err="1">
                <a:solidFill>
                  <a:srgbClr val="000000"/>
                </a:solidFill>
              </a:rPr>
              <a:t>finding</a:t>
            </a:r>
            <a:r>
              <a:rPr lang="de-DE" altLang="de-DE" sz="1500" dirty="0">
                <a:solidFill>
                  <a:srgbClr val="000000"/>
                </a:solidFill>
              </a:rPr>
              <a:t> </a:t>
            </a:r>
            <a:r>
              <a:rPr lang="de-DE" altLang="de-DE" sz="1500" dirty="0" err="1">
                <a:solidFill>
                  <a:srgbClr val="000000"/>
                </a:solidFill>
              </a:rPr>
              <a:t>insights</a:t>
            </a:r>
            <a:r>
              <a:rPr lang="de-DE" altLang="de-DE" sz="1500" dirty="0">
                <a:solidFill>
                  <a:srgbClr val="000000"/>
                </a:solidFill>
              </a:rPr>
              <a:t> in </a:t>
            </a:r>
            <a:r>
              <a:rPr lang="de-DE" altLang="de-DE" sz="1500" dirty="0" err="1">
                <a:solidFill>
                  <a:srgbClr val="000000"/>
                </a:solidFill>
              </a:rPr>
              <a:t>historic</a:t>
            </a:r>
            <a:r>
              <a:rPr lang="de-DE" altLang="de-DE" sz="1500" dirty="0">
                <a:solidFill>
                  <a:srgbClr val="000000"/>
                </a:solidFill>
              </a:rPr>
              <a:t> </a:t>
            </a:r>
            <a:r>
              <a:rPr lang="de-DE" altLang="de-DE" sz="1500" dirty="0" err="1">
                <a:solidFill>
                  <a:srgbClr val="000000"/>
                </a:solidFill>
              </a:rPr>
              <a:t>data</a:t>
            </a:r>
            <a:r>
              <a:rPr lang="de-DE" altLang="de-DE" sz="1500" dirty="0">
                <a:solidFill>
                  <a:srgbClr val="000000"/>
                </a:solidFill>
              </a:rPr>
              <a:t> &amp; </a:t>
            </a:r>
            <a:r>
              <a:rPr lang="de-DE" altLang="de-DE" sz="1500" dirty="0" err="1">
                <a:solidFill>
                  <a:srgbClr val="000000"/>
                </a:solidFill>
              </a:rPr>
              <a:t>defining</a:t>
            </a:r>
            <a:r>
              <a:rPr lang="de-DE" altLang="de-DE" sz="1500" dirty="0">
                <a:solidFill>
                  <a:srgbClr val="000000"/>
                </a:solidFill>
              </a:rPr>
              <a:t> </a:t>
            </a:r>
            <a:r>
              <a:rPr lang="de-DE" altLang="de-DE" sz="1500" dirty="0" err="1">
                <a:solidFill>
                  <a:srgbClr val="000000"/>
                </a:solidFill>
              </a:rPr>
              <a:t>applicably</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customer</a:t>
            </a:r>
            <a:r>
              <a:rPr lang="de-DE" altLang="de-DE" sz="1500" dirty="0">
                <a:solidFill>
                  <a:srgbClr val="000000"/>
                </a:solidFill>
              </a:rPr>
              <a:t> </a:t>
            </a:r>
            <a:r>
              <a:rPr lang="de-DE" altLang="de-DE" sz="1500" dirty="0" err="1">
                <a:solidFill>
                  <a:srgbClr val="000000"/>
                </a:solidFill>
              </a:rPr>
              <a:t>loyalty</a:t>
            </a:r>
            <a:endParaRPr lang="de-DE" altLang="de-DE" sz="1500" dirty="0">
              <a:solidFill>
                <a:srgbClr val="000000"/>
              </a:solidFill>
            </a:endParaRPr>
          </a:p>
        </p:txBody>
      </p:sp>
      <p:sp>
        <p:nvSpPr>
          <p:cNvPr id="2" name="Textfeld 1">
            <a:extLst>
              <a:ext uri="{FF2B5EF4-FFF2-40B4-BE49-F238E27FC236}">
                <a16:creationId xmlns:a16="http://schemas.microsoft.com/office/drawing/2014/main" id="{B011FB8A-9AD8-4092-AF2C-C3E654F6C260}"/>
              </a:ext>
            </a:extLst>
          </p:cNvPr>
          <p:cNvSpPr txBox="1"/>
          <p:nvPr/>
        </p:nvSpPr>
        <p:spPr>
          <a:xfrm>
            <a:off x="3172769" y="3429000"/>
            <a:ext cx="2721036" cy="369332"/>
          </a:xfrm>
          <a:prstGeom prst="rect">
            <a:avLst/>
          </a:prstGeom>
          <a:noFill/>
        </p:spPr>
        <p:txBody>
          <a:bodyPr wrap="square" rtlCol="0">
            <a:spAutoFit/>
          </a:bodyPr>
          <a:lstStyle/>
          <a:p>
            <a:r>
              <a:rPr lang="de-DE" b="1" dirty="0" err="1"/>
              <a:t>Our</a:t>
            </a:r>
            <a:r>
              <a:rPr lang="de-DE" b="1" dirty="0"/>
              <a:t> Approach</a:t>
            </a:r>
          </a:p>
        </p:txBody>
      </p:sp>
      <p:sp>
        <p:nvSpPr>
          <p:cNvPr id="14" name="Textfeld 13">
            <a:extLst>
              <a:ext uri="{FF2B5EF4-FFF2-40B4-BE49-F238E27FC236}">
                <a16:creationId xmlns:a16="http://schemas.microsoft.com/office/drawing/2014/main" id="{E02DFA86-3512-488A-8A15-C4FCDD53FC9E}"/>
              </a:ext>
            </a:extLst>
          </p:cNvPr>
          <p:cNvSpPr txBox="1"/>
          <p:nvPr/>
        </p:nvSpPr>
        <p:spPr>
          <a:xfrm>
            <a:off x="710228" y="1600243"/>
            <a:ext cx="2721036" cy="369332"/>
          </a:xfrm>
          <a:prstGeom prst="rect">
            <a:avLst/>
          </a:prstGeom>
          <a:noFill/>
        </p:spPr>
        <p:txBody>
          <a:bodyPr wrap="square" rtlCol="0">
            <a:spAutoFit/>
          </a:bodyPr>
          <a:lstStyle/>
          <a:p>
            <a:r>
              <a:rPr lang="de-DE" b="1" dirty="0" err="1"/>
              <a:t>What</a:t>
            </a:r>
            <a:r>
              <a:rPr lang="de-DE" b="1" dirty="0"/>
              <a:t> </a:t>
            </a:r>
            <a:r>
              <a:rPr lang="de-DE" b="1" dirty="0" err="1"/>
              <a:t>is</a:t>
            </a:r>
            <a:r>
              <a:rPr lang="de-DE" b="1" dirty="0"/>
              <a:t> </a:t>
            </a:r>
            <a:r>
              <a:rPr lang="de-DE" b="1" dirty="0" err="1"/>
              <a:t>the</a:t>
            </a:r>
            <a:r>
              <a:rPr lang="de-DE" b="1" dirty="0"/>
              <a:t> </a:t>
            </a:r>
            <a:r>
              <a:rPr lang="de-DE" b="1" dirty="0" err="1"/>
              <a:t>situation</a:t>
            </a:r>
            <a:r>
              <a:rPr lang="de-DE" b="1" dirty="0"/>
              <a:t>?</a:t>
            </a:r>
          </a:p>
        </p:txBody>
      </p:sp>
    </p:spTree>
    <p:extLst>
      <p:ext uri="{BB962C8B-B14F-4D97-AF65-F5344CB8AC3E}">
        <p14:creationId xmlns:p14="http://schemas.microsoft.com/office/powerpoint/2010/main" val="1734792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descr="Ein Bild, das Text enthält.&#10;&#10;Automatisch generierte Beschreibung">
            <a:extLst>
              <a:ext uri="{FF2B5EF4-FFF2-40B4-BE49-F238E27FC236}">
                <a16:creationId xmlns:a16="http://schemas.microsoft.com/office/drawing/2014/main" id="{8BEACC21-656F-437B-950C-98810D7D03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599" y="1261314"/>
            <a:ext cx="4911735" cy="2003849"/>
          </a:xfrm>
          <a:prstGeom prst="rect">
            <a:avLst/>
          </a:prstGeom>
        </p:spPr>
      </p:pic>
      <p:pic>
        <p:nvPicPr>
          <p:cNvPr id="52" name="Grafik 51" descr="Ein Bild, das Tisch enthält.&#10;&#10;Automatisch generierte Beschreibung">
            <a:extLst>
              <a:ext uri="{FF2B5EF4-FFF2-40B4-BE49-F238E27FC236}">
                <a16:creationId xmlns:a16="http://schemas.microsoft.com/office/drawing/2014/main" id="{7026D6E1-C535-4413-B532-2FAD587838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8160" y="3787939"/>
            <a:ext cx="4537205" cy="1674156"/>
          </a:xfrm>
          <a:prstGeom prst="rect">
            <a:avLst/>
          </a:prstGeom>
        </p:spPr>
      </p:pic>
      <p:pic>
        <p:nvPicPr>
          <p:cNvPr id="50" name="Grafik 49" descr="Ein Bild, das Tisch enthält.&#10;&#10;Automatisch generierte Beschreibung">
            <a:extLst>
              <a:ext uri="{FF2B5EF4-FFF2-40B4-BE49-F238E27FC236}">
                <a16:creationId xmlns:a16="http://schemas.microsoft.com/office/drawing/2014/main" id="{7CA829E8-672D-44DA-B912-3FDFABD8AD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7386" y="5035568"/>
            <a:ext cx="4315465" cy="1616098"/>
          </a:xfrm>
          <a:prstGeom prst="rect">
            <a:avLst/>
          </a:prstGeom>
        </p:spPr>
      </p:pic>
      <p:pic>
        <p:nvPicPr>
          <p:cNvPr id="48" name="Grafik 47" descr="Ein Bild, das Tisch enthält.&#10;&#10;Automatisch generierte Beschreibung">
            <a:extLst>
              <a:ext uri="{FF2B5EF4-FFF2-40B4-BE49-F238E27FC236}">
                <a16:creationId xmlns:a16="http://schemas.microsoft.com/office/drawing/2014/main" id="{4B66D3ED-9936-468B-9B9B-7D938B452E4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7666" y="2364508"/>
            <a:ext cx="3643983" cy="1423431"/>
          </a:xfrm>
          <a:prstGeom prst="rect">
            <a:avLst/>
          </a:prstGeom>
        </p:spPr>
      </p:pic>
      <p:pic>
        <p:nvPicPr>
          <p:cNvPr id="46" name="Grafik 45" descr="Ein Bild, das Tisch enthält.&#10;&#10;Automatisch generierte Beschreibung">
            <a:extLst>
              <a:ext uri="{FF2B5EF4-FFF2-40B4-BE49-F238E27FC236}">
                <a16:creationId xmlns:a16="http://schemas.microsoft.com/office/drawing/2014/main" id="{40D8136F-6372-42FB-9605-2005DD64C7C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49149" y="3678379"/>
            <a:ext cx="3026310" cy="2638686"/>
          </a:xfrm>
          <a:prstGeom prst="rect">
            <a:avLst/>
          </a:prstGeom>
        </p:spPr>
      </p:pic>
      <p:pic>
        <p:nvPicPr>
          <p:cNvPr id="44" name="Grafik 43" descr="Ein Bild, das Tisch enthält.&#10;&#10;Automatisch generierte Beschreibung">
            <a:extLst>
              <a:ext uri="{FF2B5EF4-FFF2-40B4-BE49-F238E27FC236}">
                <a16:creationId xmlns:a16="http://schemas.microsoft.com/office/drawing/2014/main" id="{FB5AC211-8C8A-4032-AF21-447DC748AD3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92257" y="5035568"/>
            <a:ext cx="2832064" cy="1300235"/>
          </a:xfrm>
          <a:prstGeom prst="rect">
            <a:avLst/>
          </a:prstGeom>
        </p:spPr>
      </p:pic>
      <p:pic>
        <p:nvPicPr>
          <p:cNvPr id="8" name="Grafik 7" descr="Ein Bild, das Tisch enthält.&#10;&#10;Automatisch generierte Beschreibung">
            <a:extLst>
              <a:ext uri="{FF2B5EF4-FFF2-40B4-BE49-F238E27FC236}">
                <a16:creationId xmlns:a16="http://schemas.microsoft.com/office/drawing/2014/main" id="{AA6DEC4D-E926-4431-8EC1-C7F9A59FFE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08155" y="1298388"/>
            <a:ext cx="2498952" cy="1950117"/>
          </a:xfrm>
          <a:prstGeom prst="rect">
            <a:avLst/>
          </a:prstGeom>
        </p:spPr>
      </p:pic>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br>
              <a:rPr lang="it-IT" sz="2000" b="1" dirty="0">
                <a:solidFill>
                  <a:srgbClr val="752127"/>
                </a:solidFill>
              </a:rPr>
            </a:br>
            <a:br>
              <a:rPr lang="it-IT" sz="2000" b="1" dirty="0">
                <a:solidFill>
                  <a:srgbClr val="752127"/>
                </a:solidFill>
              </a:rPr>
            </a:br>
            <a:r>
              <a:rPr lang="it-IT" sz="2600" b="1" dirty="0" err="1">
                <a:solidFill>
                  <a:srgbClr val="752127"/>
                </a:solidFill>
              </a:rPr>
              <a:t>four</a:t>
            </a:r>
            <a:r>
              <a:rPr lang="it-IT" sz="2600" b="1" dirty="0">
                <a:solidFill>
                  <a:srgbClr val="752127"/>
                </a:solidFill>
              </a:rPr>
              <a:t> data sources can be </a:t>
            </a:r>
            <a:r>
              <a:rPr lang="it-IT" sz="2600" b="1" dirty="0" err="1">
                <a:solidFill>
                  <a:srgbClr val="752127"/>
                </a:solidFill>
              </a:rPr>
              <a:t>analyzed</a:t>
            </a:r>
            <a:endParaRPr lang="it-IT" sz="2600" b="1" dirty="0">
              <a:solidFill>
                <a:srgbClr val="752127"/>
              </a:solidFill>
            </a:endParaRPr>
          </a:p>
        </p:txBody>
      </p:sp>
      <p:sp>
        <p:nvSpPr>
          <p:cNvPr id="11" name="Text Box 12">
            <a:extLst>
              <a:ext uri="{FF2B5EF4-FFF2-40B4-BE49-F238E27FC236}">
                <a16:creationId xmlns:a16="http://schemas.microsoft.com/office/drawing/2014/main" id="{57981171-819F-41ED-8626-E0744901F08E}"/>
              </a:ext>
            </a:extLst>
          </p:cNvPr>
          <p:cNvSpPr txBox="1">
            <a:spLocks noChangeArrowheads="1"/>
          </p:cNvSpPr>
          <p:nvPr>
            <p:custDataLst>
              <p:tags r:id="rId1"/>
            </p:custDataLst>
          </p:nvPr>
        </p:nvSpPr>
        <p:spPr bwMode="auto">
          <a:xfrm>
            <a:off x="7248651" y="5452524"/>
            <a:ext cx="143192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Finance</a:t>
            </a:r>
            <a:br>
              <a:rPr lang="de-DE" sz="1800" dirty="0">
                <a:solidFill>
                  <a:srgbClr val="C21C1D"/>
                </a:solidFill>
                <a:latin typeface="+mj-lt"/>
              </a:rPr>
            </a:br>
            <a:r>
              <a:rPr lang="de-DE" sz="1000" dirty="0" err="1">
                <a:solidFill>
                  <a:srgbClr val="C21C1D"/>
                </a:solidFill>
                <a:latin typeface="+mj-lt"/>
              </a:rPr>
              <a:t>Billinginformation</a:t>
            </a:r>
            <a:endParaRPr lang="de-DE" sz="1000" dirty="0">
              <a:solidFill>
                <a:srgbClr val="C21C1D"/>
              </a:solidFill>
              <a:latin typeface="+mj-lt"/>
            </a:endParaRPr>
          </a:p>
        </p:txBody>
      </p:sp>
      <p:sp>
        <p:nvSpPr>
          <p:cNvPr id="12" name="Text Box 13">
            <a:extLst>
              <a:ext uri="{FF2B5EF4-FFF2-40B4-BE49-F238E27FC236}">
                <a16:creationId xmlns:a16="http://schemas.microsoft.com/office/drawing/2014/main" id="{55A2CB18-15E7-4BF2-9AF5-F66A7DCA1B78}"/>
              </a:ext>
            </a:extLst>
          </p:cNvPr>
          <p:cNvSpPr txBox="1">
            <a:spLocks noChangeArrowheads="1"/>
          </p:cNvSpPr>
          <p:nvPr>
            <p:custDataLst>
              <p:tags r:id="rId2"/>
            </p:custDataLst>
          </p:nvPr>
        </p:nvSpPr>
        <p:spPr bwMode="auto">
          <a:xfrm>
            <a:off x="6254883" y="827861"/>
            <a:ext cx="151644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Tweets</a:t>
            </a:r>
            <a:br>
              <a:rPr lang="de-DE" sz="1800" dirty="0">
                <a:solidFill>
                  <a:srgbClr val="C21C1D"/>
                </a:solidFill>
                <a:latin typeface="+mj-lt"/>
              </a:rPr>
            </a:br>
            <a:r>
              <a:rPr lang="de-DE" sz="1000" dirty="0" err="1">
                <a:solidFill>
                  <a:srgbClr val="C21C1D"/>
                </a:solidFill>
                <a:latin typeface="+mj-lt"/>
              </a:rPr>
              <a:t>of</a:t>
            </a:r>
            <a:r>
              <a:rPr lang="de-DE" sz="1000" dirty="0">
                <a:solidFill>
                  <a:srgbClr val="C21C1D"/>
                </a:solidFill>
                <a:latin typeface="+mj-lt"/>
              </a:rPr>
              <a:t> </a:t>
            </a:r>
            <a:r>
              <a:rPr lang="de-DE" sz="1000" dirty="0" err="1">
                <a:solidFill>
                  <a:srgbClr val="C21C1D"/>
                </a:solidFill>
                <a:latin typeface="+mj-lt"/>
              </a:rPr>
              <a:t>customers</a:t>
            </a:r>
            <a:r>
              <a:rPr lang="de-DE" sz="1000" dirty="0">
                <a:solidFill>
                  <a:srgbClr val="C21C1D"/>
                </a:solidFill>
                <a:latin typeface="+mj-lt"/>
              </a:rPr>
              <a:t> </a:t>
            </a:r>
            <a:r>
              <a:rPr lang="de-DE" sz="1000" dirty="0" err="1">
                <a:solidFill>
                  <a:srgbClr val="C21C1D"/>
                </a:solidFill>
                <a:latin typeface="+mj-lt"/>
              </a:rPr>
              <a:t>refering</a:t>
            </a:r>
            <a:r>
              <a:rPr lang="de-DE" sz="1000" dirty="0">
                <a:solidFill>
                  <a:srgbClr val="C21C1D"/>
                </a:solidFill>
                <a:latin typeface="+mj-lt"/>
              </a:rPr>
              <a:t> </a:t>
            </a:r>
            <a:r>
              <a:rPr lang="de-DE" sz="1000" dirty="0" err="1">
                <a:solidFill>
                  <a:srgbClr val="C21C1D"/>
                </a:solidFill>
                <a:latin typeface="+mj-lt"/>
              </a:rPr>
              <a:t>to</a:t>
            </a:r>
            <a:r>
              <a:rPr lang="de-DE" sz="1000" dirty="0">
                <a:solidFill>
                  <a:srgbClr val="C21C1D"/>
                </a:solidFill>
                <a:latin typeface="+mj-lt"/>
              </a:rPr>
              <a:t> </a:t>
            </a:r>
            <a:r>
              <a:rPr lang="de-DE" sz="1000" dirty="0" err="1">
                <a:solidFill>
                  <a:srgbClr val="C21C1D"/>
                </a:solidFill>
                <a:latin typeface="+mj-lt"/>
              </a:rPr>
              <a:t>trips</a:t>
            </a:r>
            <a:endParaRPr lang="de-DE" sz="1000" dirty="0">
              <a:solidFill>
                <a:srgbClr val="C21C1D"/>
              </a:solidFill>
              <a:latin typeface="+mj-lt"/>
            </a:endParaRPr>
          </a:p>
        </p:txBody>
      </p:sp>
      <p:sp>
        <p:nvSpPr>
          <p:cNvPr id="13" name="Text Box 14">
            <a:extLst>
              <a:ext uri="{FF2B5EF4-FFF2-40B4-BE49-F238E27FC236}">
                <a16:creationId xmlns:a16="http://schemas.microsoft.com/office/drawing/2014/main" id="{EC62C819-2771-483A-AB46-E2DC77E7BA5D}"/>
              </a:ext>
            </a:extLst>
          </p:cNvPr>
          <p:cNvSpPr txBox="1">
            <a:spLocks noChangeArrowheads="1"/>
          </p:cNvSpPr>
          <p:nvPr>
            <p:custDataLst>
              <p:tags r:id="rId3"/>
            </p:custDataLst>
          </p:nvPr>
        </p:nvSpPr>
        <p:spPr bwMode="auto">
          <a:xfrm>
            <a:off x="1004889" y="1754745"/>
            <a:ext cx="195011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CRM</a:t>
            </a:r>
            <a:br>
              <a:rPr lang="de-DE" sz="1800" dirty="0">
                <a:solidFill>
                  <a:srgbClr val="C21C1D"/>
                </a:solidFill>
                <a:latin typeface="+mj-lt"/>
              </a:rPr>
            </a:br>
            <a:r>
              <a:rPr lang="de-DE" sz="1000" dirty="0" err="1">
                <a:solidFill>
                  <a:srgbClr val="C21C1D"/>
                </a:solidFill>
                <a:latin typeface="+mj-lt"/>
              </a:rPr>
              <a:t>Customerdescription</a:t>
            </a:r>
            <a:r>
              <a:rPr lang="de-DE" sz="1000" dirty="0">
                <a:solidFill>
                  <a:srgbClr val="C21C1D"/>
                </a:solidFill>
                <a:latin typeface="+mj-lt"/>
              </a:rPr>
              <a:t> </a:t>
            </a:r>
            <a:r>
              <a:rPr lang="de-DE" sz="1000" dirty="0" err="1">
                <a:solidFill>
                  <a:srgbClr val="C21C1D"/>
                </a:solidFill>
                <a:latin typeface="+mj-lt"/>
              </a:rPr>
              <a:t>based</a:t>
            </a:r>
            <a:r>
              <a:rPr lang="de-DE" sz="1000" dirty="0">
                <a:solidFill>
                  <a:srgbClr val="C21C1D"/>
                </a:solidFill>
                <a:latin typeface="+mj-lt"/>
              </a:rPr>
              <a:t> on Customer </a:t>
            </a:r>
            <a:r>
              <a:rPr lang="de-DE" sz="1000" dirty="0" err="1">
                <a:solidFill>
                  <a:srgbClr val="C21C1D"/>
                </a:solidFill>
                <a:latin typeface="+mj-lt"/>
              </a:rPr>
              <a:t>relationship</a:t>
            </a:r>
            <a:r>
              <a:rPr lang="de-DE" sz="1000" dirty="0">
                <a:solidFill>
                  <a:srgbClr val="C21C1D"/>
                </a:solidFill>
                <a:latin typeface="+mj-lt"/>
              </a:rPr>
              <a:t> </a:t>
            </a:r>
            <a:r>
              <a:rPr lang="de-DE" sz="1000" dirty="0" err="1">
                <a:solidFill>
                  <a:srgbClr val="C21C1D"/>
                </a:solidFill>
                <a:latin typeface="+mj-lt"/>
              </a:rPr>
              <a:t>system</a:t>
            </a:r>
            <a:endParaRPr lang="de-DE" sz="1000" dirty="0">
              <a:solidFill>
                <a:srgbClr val="C21C1D"/>
              </a:solidFill>
              <a:latin typeface="+mj-lt"/>
            </a:endParaRPr>
          </a:p>
        </p:txBody>
      </p:sp>
      <p:grpSp>
        <p:nvGrpSpPr>
          <p:cNvPr id="15" name="Gruppieren 18">
            <a:extLst>
              <a:ext uri="{FF2B5EF4-FFF2-40B4-BE49-F238E27FC236}">
                <a16:creationId xmlns:a16="http://schemas.microsoft.com/office/drawing/2014/main" id="{84B48285-5546-40FF-8B36-28A37A6B8884}"/>
              </a:ext>
            </a:extLst>
          </p:cNvPr>
          <p:cNvGrpSpPr>
            <a:grpSpLocks noChangeAspect="1"/>
          </p:cNvGrpSpPr>
          <p:nvPr/>
        </p:nvGrpSpPr>
        <p:grpSpPr bwMode="auto">
          <a:xfrm>
            <a:off x="4615818" y="1892859"/>
            <a:ext cx="1020068" cy="939948"/>
            <a:chOff x="2280285" y="3306599"/>
            <a:chExt cx="1625600" cy="1625600"/>
          </a:xfrm>
        </p:grpSpPr>
        <p:sp>
          <p:nvSpPr>
            <p:cNvPr id="16" name="Form 15">
              <a:extLst>
                <a:ext uri="{FF2B5EF4-FFF2-40B4-BE49-F238E27FC236}">
                  <a16:creationId xmlns:a16="http://schemas.microsoft.com/office/drawing/2014/main" id="{CE0CE6D9-9BAE-431F-BF97-629EC3CBE9C6}"/>
                </a:ext>
              </a:extLst>
            </p:cNvPr>
            <p:cNvSpPr/>
            <p:nvPr/>
          </p:nvSpPr>
          <p:spPr>
            <a:xfrm>
              <a:off x="2280285" y="3306599"/>
              <a:ext cx="1625600" cy="1625600"/>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17" name="Form 16">
              <a:extLst>
                <a:ext uri="{FF2B5EF4-FFF2-40B4-BE49-F238E27FC236}">
                  <a16:creationId xmlns:a16="http://schemas.microsoft.com/office/drawing/2014/main" id="{A4DC73F3-E3EA-457B-A7C8-466F91E3A386}"/>
                </a:ext>
              </a:extLst>
            </p:cNvPr>
            <p:cNvSpPr/>
            <p:nvPr/>
          </p:nvSpPr>
          <p:spPr>
            <a:xfrm>
              <a:off x="2483485" y="3538374"/>
              <a:ext cx="1219200" cy="1181100"/>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18" name="Ellipse 17">
              <a:extLst>
                <a:ext uri="{FF2B5EF4-FFF2-40B4-BE49-F238E27FC236}">
                  <a16:creationId xmlns:a16="http://schemas.microsoft.com/office/drawing/2014/main" id="{A59ED5A4-78F4-4CFD-9EB0-525ACD9F98EE}"/>
                </a:ext>
              </a:extLst>
            </p:cNvPr>
            <p:cNvSpPr/>
            <p:nvPr/>
          </p:nvSpPr>
          <p:spPr>
            <a:xfrm>
              <a:off x="2874010" y="3898737"/>
              <a:ext cx="438150" cy="46037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19" name="Gruppieren 15">
            <a:extLst>
              <a:ext uri="{FF2B5EF4-FFF2-40B4-BE49-F238E27FC236}">
                <a16:creationId xmlns:a16="http://schemas.microsoft.com/office/drawing/2014/main" id="{EE119C79-50DC-4457-90AE-34E815B53A2B}"/>
              </a:ext>
            </a:extLst>
          </p:cNvPr>
          <p:cNvGrpSpPr>
            <a:grpSpLocks noChangeAspect="1"/>
          </p:cNvGrpSpPr>
          <p:nvPr/>
        </p:nvGrpSpPr>
        <p:grpSpPr bwMode="auto">
          <a:xfrm>
            <a:off x="6835080" y="3395276"/>
            <a:ext cx="851996" cy="868289"/>
            <a:chOff x="3656286" y="4067031"/>
            <a:chExt cx="2235200" cy="2235200"/>
          </a:xfrm>
        </p:grpSpPr>
        <p:sp>
          <p:nvSpPr>
            <p:cNvPr id="20" name="Form 19">
              <a:extLst>
                <a:ext uri="{FF2B5EF4-FFF2-40B4-BE49-F238E27FC236}">
                  <a16:creationId xmlns:a16="http://schemas.microsoft.com/office/drawing/2014/main" id="{A6618513-B8E4-453D-BC2B-837AFF4EEAEA}"/>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1" name="Form 20">
              <a:extLst>
                <a:ext uri="{FF2B5EF4-FFF2-40B4-BE49-F238E27FC236}">
                  <a16:creationId xmlns:a16="http://schemas.microsoft.com/office/drawing/2014/main" id="{A496180C-96D1-4551-824C-9E89801CE819}"/>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2" name="Ellipse 21">
              <a:extLst>
                <a:ext uri="{FF2B5EF4-FFF2-40B4-BE49-F238E27FC236}">
                  <a16:creationId xmlns:a16="http://schemas.microsoft.com/office/drawing/2014/main" id="{F519BACD-50E4-4BB7-A962-E913E00DBCA1}"/>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23" name="Gruppieren 14">
            <a:extLst>
              <a:ext uri="{FF2B5EF4-FFF2-40B4-BE49-F238E27FC236}">
                <a16:creationId xmlns:a16="http://schemas.microsoft.com/office/drawing/2014/main" id="{AD8B378E-410C-456F-8A6A-E2A96778E202}"/>
              </a:ext>
            </a:extLst>
          </p:cNvPr>
          <p:cNvGrpSpPr>
            <a:grpSpLocks/>
          </p:cNvGrpSpPr>
          <p:nvPr/>
        </p:nvGrpSpPr>
        <p:grpSpPr bwMode="auto">
          <a:xfrm>
            <a:off x="5759342" y="1713930"/>
            <a:ext cx="1592262" cy="1592263"/>
            <a:chOff x="4310336" y="2381246"/>
            <a:chExt cx="1592756" cy="1592756"/>
          </a:xfrm>
        </p:grpSpPr>
        <p:sp>
          <p:nvSpPr>
            <p:cNvPr id="25" name="Form 24">
              <a:extLst>
                <a:ext uri="{FF2B5EF4-FFF2-40B4-BE49-F238E27FC236}">
                  <a16:creationId xmlns:a16="http://schemas.microsoft.com/office/drawing/2014/main" id="{DA7BCE2C-6498-42B4-B226-691997BB3FF1}"/>
                </a:ext>
              </a:extLst>
            </p:cNvPr>
            <p:cNvSpPr/>
            <p:nvPr/>
          </p:nvSpPr>
          <p:spPr>
            <a:xfrm rot="20700000">
              <a:off x="4310336" y="2381246"/>
              <a:ext cx="1592756" cy="1592756"/>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6" name="Form 25">
              <a:extLst>
                <a:ext uri="{FF2B5EF4-FFF2-40B4-BE49-F238E27FC236}">
                  <a16:creationId xmlns:a16="http://schemas.microsoft.com/office/drawing/2014/main" id="{B3E271C3-6810-46D6-9D24-4AC9EC038DA8}"/>
                </a:ext>
              </a:extLst>
            </p:cNvPr>
            <p:cNvSpPr/>
            <p:nvPr/>
          </p:nvSpPr>
          <p:spPr>
            <a:xfrm rot="20700000">
              <a:off x="4508835" y="2598801"/>
              <a:ext cx="1195759" cy="1157645"/>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8" name="Ellipse 27">
              <a:extLst>
                <a:ext uri="{FF2B5EF4-FFF2-40B4-BE49-F238E27FC236}">
                  <a16:creationId xmlns:a16="http://schemas.microsoft.com/office/drawing/2014/main" id="{B2F106ED-1C14-42DE-965E-7D58F04E35E4}"/>
                </a:ext>
              </a:extLst>
            </p:cNvPr>
            <p:cNvSpPr/>
            <p:nvPr/>
          </p:nvSpPr>
          <p:spPr>
            <a:xfrm>
              <a:off x="4888365" y="2948159"/>
              <a:ext cx="436697" cy="458929"/>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
        <p:nvSpPr>
          <p:cNvPr id="29" name="Text Box 12">
            <a:extLst>
              <a:ext uri="{FF2B5EF4-FFF2-40B4-BE49-F238E27FC236}">
                <a16:creationId xmlns:a16="http://schemas.microsoft.com/office/drawing/2014/main" id="{347C338D-B605-405A-98D6-C7DEB328114B}"/>
              </a:ext>
            </a:extLst>
          </p:cNvPr>
          <p:cNvSpPr txBox="1">
            <a:spLocks noChangeArrowheads="1"/>
          </p:cNvSpPr>
          <p:nvPr>
            <p:custDataLst>
              <p:tags r:id="rId4"/>
            </p:custDataLst>
          </p:nvPr>
        </p:nvSpPr>
        <p:spPr bwMode="auto">
          <a:xfrm>
            <a:off x="2126653" y="4203746"/>
            <a:ext cx="143192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Sales</a:t>
            </a:r>
            <a:br>
              <a:rPr lang="de-DE" sz="1800" dirty="0">
                <a:solidFill>
                  <a:srgbClr val="C21C1D"/>
                </a:solidFill>
                <a:latin typeface="+mj-lt"/>
              </a:rPr>
            </a:br>
            <a:r>
              <a:rPr lang="de-DE" sz="1000" dirty="0" err="1">
                <a:solidFill>
                  <a:srgbClr val="C21C1D"/>
                </a:solidFill>
                <a:latin typeface="+mj-lt"/>
              </a:rPr>
              <a:t>Tripspecification</a:t>
            </a:r>
            <a:r>
              <a:rPr lang="de-DE" sz="1000" dirty="0">
                <a:solidFill>
                  <a:srgbClr val="C21C1D"/>
                </a:solidFill>
                <a:latin typeface="+mj-lt"/>
              </a:rPr>
              <a:t> &amp; </a:t>
            </a:r>
            <a:r>
              <a:rPr lang="de-DE" sz="1000" dirty="0" err="1">
                <a:solidFill>
                  <a:srgbClr val="C21C1D"/>
                </a:solidFill>
                <a:latin typeface="+mj-lt"/>
              </a:rPr>
              <a:t>target</a:t>
            </a:r>
            <a:r>
              <a:rPr lang="de-DE" sz="1000" dirty="0">
                <a:solidFill>
                  <a:srgbClr val="C21C1D"/>
                </a:solidFill>
                <a:latin typeface="+mj-lt"/>
              </a:rPr>
              <a:t> variable „</a:t>
            </a:r>
            <a:r>
              <a:rPr lang="de-DE" sz="1000" dirty="0" err="1">
                <a:solidFill>
                  <a:srgbClr val="C21C1D"/>
                </a:solidFill>
                <a:latin typeface="+mj-lt"/>
              </a:rPr>
              <a:t>Retained</a:t>
            </a:r>
            <a:r>
              <a:rPr lang="de-DE" sz="1000" dirty="0">
                <a:solidFill>
                  <a:srgbClr val="C21C1D"/>
                </a:solidFill>
                <a:latin typeface="+mj-lt"/>
              </a:rPr>
              <a:t>“ (1, 0)</a:t>
            </a:r>
          </a:p>
        </p:txBody>
      </p:sp>
      <p:grpSp>
        <p:nvGrpSpPr>
          <p:cNvPr id="30" name="Gruppieren 15">
            <a:extLst>
              <a:ext uri="{FF2B5EF4-FFF2-40B4-BE49-F238E27FC236}">
                <a16:creationId xmlns:a16="http://schemas.microsoft.com/office/drawing/2014/main" id="{4C21C1FC-8B29-4EA1-8EC8-DC295808CD67}"/>
              </a:ext>
            </a:extLst>
          </p:cNvPr>
          <p:cNvGrpSpPr>
            <a:grpSpLocks noChangeAspect="1"/>
          </p:cNvGrpSpPr>
          <p:nvPr/>
        </p:nvGrpSpPr>
        <p:grpSpPr bwMode="auto">
          <a:xfrm>
            <a:off x="5265117" y="3144996"/>
            <a:ext cx="1093669" cy="1114584"/>
            <a:chOff x="3656286" y="4067031"/>
            <a:chExt cx="2235200" cy="2235200"/>
          </a:xfrm>
        </p:grpSpPr>
        <p:sp>
          <p:nvSpPr>
            <p:cNvPr id="31" name="Form 30">
              <a:extLst>
                <a:ext uri="{FF2B5EF4-FFF2-40B4-BE49-F238E27FC236}">
                  <a16:creationId xmlns:a16="http://schemas.microsoft.com/office/drawing/2014/main" id="{6BA65F72-BA97-4510-A8DC-CC9A5B56168E}"/>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32" name="Form 31">
              <a:extLst>
                <a:ext uri="{FF2B5EF4-FFF2-40B4-BE49-F238E27FC236}">
                  <a16:creationId xmlns:a16="http://schemas.microsoft.com/office/drawing/2014/main" id="{A5F118AF-4C60-4EC6-B633-E3CBE1164631}"/>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33" name="Ellipse 32">
              <a:extLst>
                <a:ext uri="{FF2B5EF4-FFF2-40B4-BE49-F238E27FC236}">
                  <a16:creationId xmlns:a16="http://schemas.microsoft.com/office/drawing/2014/main" id="{5DE85B43-147B-4DBC-9DDB-AB10C9D9E2AA}"/>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Tree>
    <p:extLst>
      <p:ext uri="{BB962C8B-B14F-4D97-AF65-F5344CB8AC3E}">
        <p14:creationId xmlns:p14="http://schemas.microsoft.com/office/powerpoint/2010/main" val="3502623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ata Quality Observations</a:t>
            </a:r>
          </a:p>
        </p:txBody>
      </p:sp>
      <p:sp>
        <p:nvSpPr>
          <p:cNvPr id="4" name="TextBox 3">
            <a:extLst>
              <a:ext uri="{FF2B5EF4-FFF2-40B4-BE49-F238E27FC236}">
                <a16:creationId xmlns:a16="http://schemas.microsoft.com/office/drawing/2014/main" id="{9E99E72D-A847-4302-B37D-FCE93E91D89D}"/>
              </a:ext>
            </a:extLst>
          </p:cNvPr>
          <p:cNvSpPr txBox="1"/>
          <p:nvPr/>
        </p:nvSpPr>
        <p:spPr>
          <a:xfrm>
            <a:off x="710229" y="820617"/>
            <a:ext cx="10684702" cy="5909310"/>
          </a:xfrm>
          <a:prstGeom prst="rect">
            <a:avLst/>
          </a:prstGeom>
          <a:noFill/>
        </p:spPr>
        <p:txBody>
          <a:bodyPr wrap="square" rtlCol="0">
            <a:spAutoFit/>
          </a:bodyPr>
          <a:lstStyle/>
          <a:p>
            <a:r>
              <a:rPr lang="en-GB" dirty="0"/>
              <a:t>Prior to creating a model a data quality assessment was made to identify any potential issues which could drastically impact the accuracy of the predictive model.</a:t>
            </a:r>
          </a:p>
          <a:p>
            <a:endParaRPr lang="en-GB" dirty="0"/>
          </a:p>
          <a:p>
            <a:r>
              <a:rPr lang="en-GB" b="1" dirty="0"/>
              <a:t>Error Types</a:t>
            </a:r>
          </a:p>
          <a:p>
            <a:pPr marL="285750" indent="-285750">
              <a:buFont typeface="Arial" panose="020B0604020202020204" pitchFamily="34" charset="0"/>
              <a:buChar char="•"/>
            </a:pPr>
            <a:r>
              <a:rPr lang="en-GB" dirty="0"/>
              <a:t>Missing Values</a:t>
            </a:r>
          </a:p>
          <a:p>
            <a:pPr marL="285750" indent="-285750">
              <a:buFont typeface="Arial" panose="020B0604020202020204" pitchFamily="34" charset="0"/>
              <a:buChar char="•"/>
            </a:pPr>
            <a:r>
              <a:rPr lang="en-GB" dirty="0"/>
              <a:t>Sequential Date Inconsistencies</a:t>
            </a:r>
          </a:p>
          <a:p>
            <a:pPr marL="285750" indent="-285750">
              <a:buFont typeface="Arial" panose="020B0604020202020204" pitchFamily="34" charset="0"/>
              <a:buChar char="•"/>
            </a:pPr>
            <a:r>
              <a:rPr lang="en-GB" dirty="0"/>
              <a:t>Data Contradictions</a:t>
            </a:r>
          </a:p>
          <a:p>
            <a:pPr marL="285750" indent="-285750">
              <a:buFont typeface="Arial" panose="020B0604020202020204" pitchFamily="34" charset="0"/>
              <a:buChar char="•"/>
            </a:pPr>
            <a:r>
              <a:rPr lang="en-GB" u="sng" dirty="0"/>
              <a:t>Non-reconciliations</a:t>
            </a:r>
          </a:p>
          <a:p>
            <a:endParaRPr lang="en-GB" dirty="0"/>
          </a:p>
          <a:p>
            <a:r>
              <a:rPr lang="en-GB" b="1" dirty="0"/>
              <a:t>Corrective Assumptions</a:t>
            </a:r>
          </a:p>
          <a:p>
            <a:pPr marL="285750" indent="-285750">
              <a:buFont typeface="Arial" panose="020B0604020202020204" pitchFamily="34" charset="0"/>
              <a:buChar char="•"/>
            </a:pPr>
            <a:r>
              <a:rPr lang="en-GB" dirty="0"/>
              <a:t>Population of missing values</a:t>
            </a:r>
          </a:p>
          <a:p>
            <a:pPr marL="285750" indent="-285750">
              <a:buFont typeface="Arial" panose="020B0604020202020204" pitchFamily="34" charset="0"/>
              <a:buChar char="•"/>
            </a:pPr>
            <a:r>
              <a:rPr lang="en-GB" dirty="0"/>
              <a:t>Apply logic to dates</a:t>
            </a:r>
          </a:p>
          <a:p>
            <a:pPr marL="285750" indent="-285750">
              <a:buFont typeface="Arial" panose="020B0604020202020204" pitchFamily="34" charset="0"/>
              <a:buChar char="•"/>
            </a:pPr>
            <a:r>
              <a:rPr lang="en-GB" dirty="0"/>
              <a:t>Take the latest capture to be true</a:t>
            </a:r>
          </a:p>
          <a:p>
            <a:pPr marL="285750" indent="-285750">
              <a:buFont typeface="Arial" panose="020B0604020202020204" pitchFamily="34" charset="0"/>
              <a:buChar char="•"/>
            </a:pPr>
            <a:r>
              <a:rPr lang="en-GB" dirty="0"/>
              <a:t>Recalculate fields that can be derived from other fields</a:t>
            </a:r>
          </a:p>
          <a:p>
            <a:endParaRPr lang="en-GB" dirty="0"/>
          </a:p>
          <a:p>
            <a:r>
              <a:rPr lang="en-GB" dirty="0"/>
              <a:t>Each of the applied cleansing assumptions required mostly impacted 10s of rows, it is considered that these changes would not alter the overall shape of the data or its representation.</a:t>
            </a:r>
          </a:p>
          <a:p>
            <a:endParaRPr lang="en-GB" dirty="0"/>
          </a:p>
          <a:p>
            <a:r>
              <a:rPr lang="en-GB" dirty="0"/>
              <a:t>Setting a blank field to the mean has a minimal impact on the representation of that data, but is an important assumption to make as it allows the model to leverage on the other fields within that event where the data is reliable, which is not possible if a whole record is deleted due to one missing value.</a:t>
            </a:r>
          </a:p>
        </p:txBody>
      </p:sp>
    </p:spTree>
    <p:extLst>
      <p:ext uri="{BB962C8B-B14F-4D97-AF65-F5344CB8AC3E}">
        <p14:creationId xmlns:p14="http://schemas.microsoft.com/office/powerpoint/2010/main" val="2391005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think-cell" r:id="rId5" imgW="592" imgH="591" progId="TCLayout.ActiveDocument.1">
                  <p:embed/>
                </p:oleObj>
              </mc:Choice>
              <mc:Fallback>
                <p:oleObj name="Diapositiva think-cell" r:id="rId5" imgW="592" imgH="591" progId="TCLayout.ActiveDocument.1">
                  <p:embed/>
                  <p:pic>
                    <p:nvPicPr>
                      <p:cNvPr id="6" name="Oggetto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magine 4"/>
          <p:cNvPicPr>
            <a:picLocks noChangeAspect="1"/>
          </p:cNvPicPr>
          <p:nvPr/>
        </p:nvPicPr>
        <p:blipFill>
          <a:blip r:embed="rId7"/>
          <a:stretch>
            <a:fillRect/>
          </a:stretch>
        </p:blipFill>
        <p:spPr>
          <a:xfrm>
            <a:off x="6274958" y="3301867"/>
            <a:ext cx="3437525" cy="2694039"/>
          </a:xfrm>
          <a:prstGeom prst="rect">
            <a:avLst/>
          </a:prstGeom>
        </p:spPr>
      </p:pic>
      <p:pic>
        <p:nvPicPr>
          <p:cNvPr id="4" name="Immagine 3"/>
          <p:cNvPicPr>
            <a:picLocks noChangeAspect="1"/>
          </p:cNvPicPr>
          <p:nvPr/>
        </p:nvPicPr>
        <p:blipFill>
          <a:blip r:embed="rId8"/>
          <a:stretch>
            <a:fillRect/>
          </a:stretch>
        </p:blipFill>
        <p:spPr>
          <a:xfrm>
            <a:off x="2226275" y="3168716"/>
            <a:ext cx="3024898" cy="2734840"/>
          </a:xfrm>
          <a:prstGeom prst="rect">
            <a:avLst/>
          </a:prstGeom>
        </p:spPr>
      </p:pic>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2612"/>
            <a:ext cx="9580606" cy="707886"/>
          </a:xfrm>
          <a:prstGeom prst="rect">
            <a:avLst/>
          </a:prstGeom>
          <a:noFill/>
        </p:spPr>
        <p:txBody>
          <a:bodyPr wrap="square" rtlCol="0">
            <a:spAutoFit/>
          </a:bodyPr>
          <a:lstStyle/>
          <a:p>
            <a:pPr algn="just">
              <a:spcAft>
                <a:spcPts val="600"/>
              </a:spcAft>
            </a:pPr>
            <a:r>
              <a:rPr lang="en-US" sz="2000" dirty="0"/>
              <a:t>After merging the datasets and doing a quick preprocessing, we trained a simple logistic regression model in order to have a reference score to improve.</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1</a:t>
            </a:r>
          </a:p>
        </p:txBody>
      </p:sp>
      <p:sp>
        <p:nvSpPr>
          <p:cNvPr id="11" name="Rettangolo 10"/>
          <p:cNvSpPr/>
          <p:nvPr/>
        </p:nvSpPr>
        <p:spPr>
          <a:xfrm>
            <a:off x="1691148" y="2659012"/>
            <a:ext cx="8760542" cy="35451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CasellaDiTesto 11"/>
          <p:cNvSpPr txBox="1"/>
          <p:nvPr/>
        </p:nvSpPr>
        <p:spPr>
          <a:xfrm>
            <a:off x="2106589" y="2521013"/>
            <a:ext cx="3838230" cy="307777"/>
          </a:xfrm>
          <a:prstGeom prst="rect">
            <a:avLst/>
          </a:prstGeom>
          <a:solidFill>
            <a:schemeClr val="bg1"/>
          </a:solidFill>
        </p:spPr>
        <p:txBody>
          <a:bodyPr wrap="none" rtlCol="0">
            <a:spAutoFit/>
          </a:bodyPr>
          <a:lstStyle/>
          <a:p>
            <a:r>
              <a:rPr lang="it-IT" sz="1400" b="1" i="1" dirty="0" err="1">
                <a:solidFill>
                  <a:schemeClr val="bg1">
                    <a:lumMod val="50000"/>
                  </a:schemeClr>
                </a:solidFill>
              </a:rPr>
              <a:t>Starting</a:t>
            </a:r>
            <a:r>
              <a:rPr lang="it-IT" sz="1400" i="1" dirty="0">
                <a:solidFill>
                  <a:schemeClr val="bg1">
                    <a:lumMod val="50000"/>
                  </a:schemeClr>
                </a:solidFill>
              </a:rPr>
              <a:t> ML </a:t>
            </a:r>
            <a:r>
              <a:rPr lang="it-IT" sz="1400" i="1" dirty="0" err="1">
                <a:solidFill>
                  <a:schemeClr val="bg1">
                    <a:lumMod val="50000"/>
                  </a:schemeClr>
                </a:solidFill>
              </a:rPr>
              <a:t>Model’s</a:t>
            </a:r>
            <a:r>
              <a:rPr lang="it-IT" sz="1400" i="1" dirty="0">
                <a:solidFill>
                  <a:schemeClr val="bg1">
                    <a:lumMod val="50000"/>
                  </a:schemeClr>
                </a:solidFill>
              </a:rPr>
              <a:t> performance (f1-score ~77%):</a:t>
            </a:r>
          </a:p>
        </p:txBody>
      </p:sp>
      <p:sp>
        <p:nvSpPr>
          <p:cNvPr id="7" name="CasellaDiTesto 6"/>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535349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631216"/>
          </a:xfrm>
          <a:prstGeom prst="rect">
            <a:avLst/>
          </a:prstGeom>
          <a:noFill/>
        </p:spPr>
        <p:txBody>
          <a:bodyPr wrap="square" rtlCol="0">
            <a:spAutoFit/>
          </a:bodyPr>
          <a:lstStyle/>
          <a:p>
            <a:pPr algn="just">
              <a:spcAft>
                <a:spcPts val="600"/>
              </a:spcAft>
            </a:pPr>
            <a:r>
              <a:rPr lang="en-US" dirty="0"/>
              <a:t>Next step was to look deeply into the data:</a:t>
            </a:r>
          </a:p>
          <a:p>
            <a:pPr marL="342900" indent="-342900" algn="just">
              <a:spcAft>
                <a:spcPts val="600"/>
              </a:spcAft>
              <a:buFont typeface="Arial" panose="020B0604020202020204" pitchFamily="34" charset="0"/>
              <a:buChar char="•"/>
            </a:pPr>
            <a:r>
              <a:rPr lang="en-US" dirty="0"/>
              <a:t>We perform data exploration running statistical analysis and visualizing the data. In this phase we noticed for example that data was slightly imbalanced but not so much to require the use of particular techniques.</a:t>
            </a:r>
          </a:p>
          <a:p>
            <a:pPr marL="342900" indent="-342900" algn="just">
              <a:spcAft>
                <a:spcPts val="600"/>
              </a:spcAft>
              <a:buFont typeface="Arial" panose="020B0604020202020204" pitchFamily="34" charset="0"/>
              <a:buChar char="•"/>
            </a:pPr>
            <a:r>
              <a:rPr lang="en-US" dirty="0"/>
              <a:t>We also noted that some features were correlated with each other, redundant or not useful.</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2</a:t>
            </a:r>
          </a:p>
        </p:txBody>
      </p:sp>
      <p:pic>
        <p:nvPicPr>
          <p:cNvPr id="7" name="Immagine 6"/>
          <p:cNvPicPr>
            <a:picLocks noChangeAspect="1"/>
          </p:cNvPicPr>
          <p:nvPr/>
        </p:nvPicPr>
        <p:blipFill>
          <a:blip r:embed="rId3"/>
          <a:stretch>
            <a:fillRect/>
          </a:stretch>
        </p:blipFill>
        <p:spPr>
          <a:xfrm>
            <a:off x="1191061" y="3889749"/>
            <a:ext cx="2999657" cy="2080775"/>
          </a:xfrm>
          <a:prstGeom prst="rect">
            <a:avLst/>
          </a:prstGeom>
        </p:spPr>
      </p:pic>
      <p:sp>
        <p:nvSpPr>
          <p:cNvPr id="9" name="Rettangolo 8"/>
          <p:cNvSpPr/>
          <p:nvPr/>
        </p:nvSpPr>
        <p:spPr>
          <a:xfrm>
            <a:off x="1047172"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1191061" y="3443373"/>
            <a:ext cx="1504771" cy="307777"/>
          </a:xfrm>
          <a:prstGeom prst="rect">
            <a:avLst/>
          </a:prstGeom>
          <a:solidFill>
            <a:schemeClr val="bg1"/>
          </a:solidFill>
        </p:spPr>
        <p:txBody>
          <a:bodyPr wrap="none" rtlCol="0">
            <a:spAutoFit/>
          </a:bodyPr>
          <a:lstStyle/>
          <a:p>
            <a:r>
              <a:rPr lang="it-IT" sz="1400" i="1" dirty="0">
                <a:solidFill>
                  <a:schemeClr val="bg1">
                    <a:lumMod val="50000"/>
                  </a:schemeClr>
                </a:solidFill>
              </a:rPr>
              <a:t>Class </a:t>
            </a:r>
            <a:r>
              <a:rPr lang="it-IT" sz="1400" i="1" dirty="0" err="1">
                <a:solidFill>
                  <a:schemeClr val="bg1">
                    <a:lumMod val="50000"/>
                  </a:schemeClr>
                </a:solidFill>
              </a:rPr>
              <a:t>Frequencies</a:t>
            </a:r>
            <a:r>
              <a:rPr lang="it-IT" sz="1400" i="1" dirty="0">
                <a:solidFill>
                  <a:schemeClr val="bg1">
                    <a:lumMod val="50000"/>
                  </a:schemeClr>
                </a:solidFill>
              </a:rPr>
              <a:t>:</a:t>
            </a:r>
          </a:p>
        </p:txBody>
      </p:sp>
      <p:pic>
        <p:nvPicPr>
          <p:cNvPr id="4" name="Immagine 3"/>
          <p:cNvPicPr>
            <a:picLocks noChangeAspect="1"/>
          </p:cNvPicPr>
          <p:nvPr/>
        </p:nvPicPr>
        <p:blipFill>
          <a:blip r:embed="rId4"/>
          <a:stretch>
            <a:fillRect/>
          </a:stretch>
        </p:blipFill>
        <p:spPr>
          <a:xfrm>
            <a:off x="8025565" y="4010645"/>
            <a:ext cx="2999657" cy="1994696"/>
          </a:xfrm>
          <a:prstGeom prst="rect">
            <a:avLst/>
          </a:prstGeom>
        </p:spPr>
      </p:pic>
      <p:sp>
        <p:nvSpPr>
          <p:cNvPr id="11" name="Rettangolo 10"/>
          <p:cNvSpPr/>
          <p:nvPr/>
        </p:nvSpPr>
        <p:spPr>
          <a:xfrm>
            <a:off x="7866815"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CasellaDiTesto 11"/>
          <p:cNvSpPr txBox="1"/>
          <p:nvPr/>
        </p:nvSpPr>
        <p:spPr>
          <a:xfrm>
            <a:off x="8010704" y="3443373"/>
            <a:ext cx="2394310" cy="307777"/>
          </a:xfrm>
          <a:prstGeom prst="rect">
            <a:avLst/>
          </a:prstGeom>
          <a:solidFill>
            <a:schemeClr val="bg1"/>
          </a:solidFill>
        </p:spPr>
        <p:txBody>
          <a:bodyPr wrap="none" rtlCol="0">
            <a:spAutoFit/>
          </a:bodyPr>
          <a:lstStyle/>
          <a:p>
            <a:r>
              <a:rPr lang="it-IT" sz="1400" i="1" dirty="0" err="1">
                <a:solidFill>
                  <a:schemeClr val="bg1">
                    <a:lumMod val="50000"/>
                  </a:schemeClr>
                </a:solidFill>
              </a:rPr>
              <a:t>Example</a:t>
            </a:r>
            <a:r>
              <a:rPr lang="it-IT" sz="1400" i="1" dirty="0">
                <a:solidFill>
                  <a:schemeClr val="bg1">
                    <a:lumMod val="50000"/>
                  </a:schemeClr>
                </a:solidFill>
              </a:rPr>
              <a:t> of a </a:t>
            </a:r>
            <a:r>
              <a:rPr lang="it-IT" sz="1400" i="1" dirty="0" err="1">
                <a:solidFill>
                  <a:schemeClr val="bg1">
                    <a:lumMod val="50000"/>
                  </a:schemeClr>
                </a:solidFill>
              </a:rPr>
              <a:t>useless</a:t>
            </a:r>
            <a:r>
              <a:rPr lang="it-IT" sz="1400" i="1" dirty="0">
                <a:solidFill>
                  <a:schemeClr val="bg1">
                    <a:lumMod val="50000"/>
                  </a:schemeClr>
                </a:solidFill>
              </a:rPr>
              <a:t> </a:t>
            </a:r>
            <a:r>
              <a:rPr lang="it-IT" sz="1400" i="1" dirty="0" err="1">
                <a:solidFill>
                  <a:schemeClr val="bg1">
                    <a:lumMod val="50000"/>
                  </a:schemeClr>
                </a:solidFill>
              </a:rPr>
              <a:t>variable</a:t>
            </a:r>
            <a:r>
              <a:rPr lang="it-IT" sz="1400" i="1" dirty="0">
                <a:solidFill>
                  <a:schemeClr val="bg1">
                    <a:lumMod val="50000"/>
                  </a:schemeClr>
                </a:solidFill>
              </a:rPr>
              <a:t>:</a:t>
            </a:r>
          </a:p>
        </p:txBody>
      </p:sp>
      <p:pic>
        <p:nvPicPr>
          <p:cNvPr id="5" name="Immagine 4"/>
          <p:cNvPicPr>
            <a:picLocks noChangeAspect="1"/>
          </p:cNvPicPr>
          <p:nvPr/>
        </p:nvPicPr>
        <p:blipFill>
          <a:blip r:embed="rId5"/>
          <a:stretch>
            <a:fillRect/>
          </a:stretch>
        </p:blipFill>
        <p:spPr>
          <a:xfrm>
            <a:off x="4593499" y="4010645"/>
            <a:ext cx="2877141" cy="1933079"/>
          </a:xfrm>
          <a:prstGeom prst="rect">
            <a:avLst/>
          </a:prstGeom>
        </p:spPr>
      </p:pic>
      <p:sp>
        <p:nvSpPr>
          <p:cNvPr id="14" name="Rettangolo 13"/>
          <p:cNvSpPr/>
          <p:nvPr/>
        </p:nvSpPr>
        <p:spPr>
          <a:xfrm>
            <a:off x="4466616"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p:cNvSpPr txBox="1"/>
          <p:nvPr/>
        </p:nvSpPr>
        <p:spPr>
          <a:xfrm>
            <a:off x="4610505" y="3443373"/>
            <a:ext cx="2559227" cy="307777"/>
          </a:xfrm>
          <a:prstGeom prst="rect">
            <a:avLst/>
          </a:prstGeom>
          <a:solidFill>
            <a:schemeClr val="bg1"/>
          </a:solidFill>
        </p:spPr>
        <p:txBody>
          <a:bodyPr wrap="none" rtlCol="0">
            <a:spAutoFit/>
          </a:bodyPr>
          <a:lstStyle/>
          <a:p>
            <a:r>
              <a:rPr lang="it-IT" sz="1400" i="1" dirty="0" err="1">
                <a:solidFill>
                  <a:schemeClr val="bg1">
                    <a:lumMod val="50000"/>
                  </a:schemeClr>
                </a:solidFill>
              </a:rPr>
              <a:t>Example</a:t>
            </a:r>
            <a:r>
              <a:rPr lang="it-IT" sz="1400" i="1" dirty="0">
                <a:solidFill>
                  <a:schemeClr val="bg1">
                    <a:lumMod val="50000"/>
                  </a:schemeClr>
                </a:solidFill>
              </a:rPr>
              <a:t> of </a:t>
            </a:r>
            <a:r>
              <a:rPr lang="it-IT" sz="1400" i="1" dirty="0" err="1">
                <a:solidFill>
                  <a:schemeClr val="bg1">
                    <a:lumMod val="50000"/>
                  </a:schemeClr>
                </a:solidFill>
              </a:rPr>
              <a:t>correlated</a:t>
            </a:r>
            <a:r>
              <a:rPr lang="it-IT" sz="1400" i="1" dirty="0">
                <a:solidFill>
                  <a:schemeClr val="bg1">
                    <a:lumMod val="50000"/>
                  </a:schemeClr>
                </a:solidFill>
              </a:rPr>
              <a:t> </a:t>
            </a:r>
            <a:r>
              <a:rPr lang="it-IT" sz="1400" i="1" dirty="0" err="1">
                <a:solidFill>
                  <a:schemeClr val="bg1">
                    <a:lumMod val="50000"/>
                  </a:schemeClr>
                </a:solidFill>
              </a:rPr>
              <a:t>variables</a:t>
            </a:r>
            <a:r>
              <a:rPr lang="it-IT" sz="1400" i="1" dirty="0">
                <a:solidFill>
                  <a:schemeClr val="bg1">
                    <a:lumMod val="50000"/>
                  </a:schemeClr>
                </a:solidFill>
              </a:rPr>
              <a:t>:</a:t>
            </a:r>
          </a:p>
        </p:txBody>
      </p:sp>
      <p:sp>
        <p:nvSpPr>
          <p:cNvPr id="16" name="CasellaDiTesto 15"/>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85841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908215"/>
          </a:xfrm>
          <a:prstGeom prst="rect">
            <a:avLst/>
          </a:prstGeom>
          <a:noFill/>
        </p:spPr>
        <p:txBody>
          <a:bodyPr wrap="square" rtlCol="0">
            <a:spAutoFit/>
          </a:bodyPr>
          <a:lstStyle/>
          <a:p>
            <a:pPr algn="just">
              <a:spcAft>
                <a:spcPts val="600"/>
              </a:spcAft>
            </a:pPr>
            <a:r>
              <a:rPr lang="en-US" dirty="0"/>
              <a:t>We then played with the variables trying to create others. In particular, we focused on the dates, number and classes of origin of the participants in the trip. In doing so, we found a variable- (</a:t>
            </a:r>
            <a:r>
              <a:rPr lang="en-US" i="1" dirty="0" err="1"/>
              <a:t>Delta_From_To_Grade</a:t>
            </a:r>
            <a:r>
              <a:rPr lang="en-US" dirty="0"/>
              <a:t>), which allowed us to increase the quality of the prediction.</a:t>
            </a:r>
          </a:p>
          <a:p>
            <a:pPr algn="just">
              <a:spcAft>
                <a:spcPts val="600"/>
              </a:spcAft>
            </a:pPr>
            <a:r>
              <a:rPr lang="en-US" dirty="0"/>
              <a:t>The turning point came when we examined the tweets that we had initially left out, introducing the sentiment analysis in our model.</a:t>
            </a:r>
          </a:p>
          <a:p>
            <a:pPr algn="just">
              <a:spcAft>
                <a:spcPts val="600"/>
              </a:spcAft>
            </a:pPr>
            <a:r>
              <a:rPr lang="en-US" dirty="0"/>
              <a:t>The interpretation of both of this features will be explored later.</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3</a:t>
            </a:r>
          </a:p>
        </p:txBody>
      </p:sp>
      <p:pic>
        <p:nvPicPr>
          <p:cNvPr id="4" name="Immagine 3"/>
          <p:cNvPicPr>
            <a:picLocks noChangeAspect="1"/>
          </p:cNvPicPr>
          <p:nvPr/>
        </p:nvPicPr>
        <p:blipFill>
          <a:blip r:embed="rId3"/>
          <a:stretch>
            <a:fillRect/>
          </a:stretch>
        </p:blipFill>
        <p:spPr>
          <a:xfrm>
            <a:off x="2163086" y="3913238"/>
            <a:ext cx="3307750" cy="2199527"/>
          </a:xfrm>
          <a:prstGeom prst="rect">
            <a:avLst/>
          </a:prstGeom>
        </p:spPr>
      </p:pic>
      <p:pic>
        <p:nvPicPr>
          <p:cNvPr id="5" name="Immagine 4"/>
          <p:cNvPicPr>
            <a:picLocks noChangeAspect="1"/>
          </p:cNvPicPr>
          <p:nvPr/>
        </p:nvPicPr>
        <p:blipFill>
          <a:blip r:embed="rId4"/>
          <a:stretch>
            <a:fillRect/>
          </a:stretch>
        </p:blipFill>
        <p:spPr>
          <a:xfrm>
            <a:off x="6773157" y="3910039"/>
            <a:ext cx="3333129" cy="2174148"/>
          </a:xfrm>
          <a:prstGeom prst="rect">
            <a:avLst/>
          </a:prstGeom>
        </p:spPr>
      </p:pic>
      <p:sp>
        <p:nvSpPr>
          <p:cNvPr id="9" name="Rettangolo 8"/>
          <p:cNvSpPr/>
          <p:nvPr/>
        </p:nvSpPr>
        <p:spPr>
          <a:xfrm>
            <a:off x="1691148" y="3303639"/>
            <a:ext cx="8760542" cy="290051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1897846" y="3149750"/>
            <a:ext cx="1260858" cy="307777"/>
          </a:xfrm>
          <a:prstGeom prst="rect">
            <a:avLst/>
          </a:prstGeom>
          <a:solidFill>
            <a:schemeClr val="bg1"/>
          </a:solidFill>
        </p:spPr>
        <p:txBody>
          <a:bodyPr wrap="none" rtlCol="0">
            <a:spAutoFit/>
          </a:bodyPr>
          <a:lstStyle/>
          <a:p>
            <a:r>
              <a:rPr lang="it-IT" sz="1400" i="1" dirty="0">
                <a:solidFill>
                  <a:schemeClr val="bg1">
                    <a:lumMod val="50000"/>
                  </a:schemeClr>
                </a:solidFill>
              </a:rPr>
              <a:t>New </a:t>
            </a:r>
            <a:r>
              <a:rPr lang="it-IT" sz="1400" i="1" dirty="0" err="1">
                <a:solidFill>
                  <a:schemeClr val="bg1">
                    <a:lumMod val="50000"/>
                  </a:schemeClr>
                </a:solidFill>
              </a:rPr>
              <a:t>variables</a:t>
            </a:r>
            <a:r>
              <a:rPr lang="it-IT" sz="1400" i="1" dirty="0">
                <a:solidFill>
                  <a:schemeClr val="bg1">
                    <a:lumMod val="50000"/>
                  </a:schemeClr>
                </a:solidFill>
              </a:rPr>
              <a:t>:</a:t>
            </a:r>
          </a:p>
        </p:txBody>
      </p:sp>
      <p:sp>
        <p:nvSpPr>
          <p:cNvPr id="11" name="CasellaDiTesto 10"/>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117654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fWFHrJRN0mK6ABrSujG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14XkA5rUOvFltOcEMO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2.xml><?xml version="1.0" encoding="utf-8"?>
<a:theme xmlns:a="http://schemas.openxmlformats.org/drawingml/2006/main" name="1_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51F8EC6EEE6674499A629B6657B9AC7" ma:contentTypeVersion="13" ma:contentTypeDescription="Create a new document." ma:contentTypeScope="" ma:versionID="4fd14c1f3ce20c93ccda3aea6d2a2bce">
  <xsd:schema xmlns:xsd="http://www.w3.org/2001/XMLSchema" xmlns:xs="http://www.w3.org/2001/XMLSchema" xmlns:p="http://schemas.microsoft.com/office/2006/metadata/properties" xmlns:ns3="d8e8dd54-27e0-406e-b96e-90470c90af98" xmlns:ns4="c038ce7e-4169-4d49-9324-5447ee9a6370" targetNamespace="http://schemas.microsoft.com/office/2006/metadata/properties" ma:root="true" ma:fieldsID="13fc7dfcf8502241d6c0e1b0981197bf" ns3:_="" ns4:_="">
    <xsd:import namespace="d8e8dd54-27e0-406e-b96e-90470c90af98"/>
    <xsd:import namespace="c038ce7e-4169-4d49-9324-5447ee9a63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Location"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e8dd54-27e0-406e-b96e-90470c90af9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38ce7e-4169-4d49-9324-5447ee9a63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AC6048-6440-4A00-9D61-FE9C9904EA42}">
  <ds:schemaRefs>
    <ds:schemaRef ds:uri="http://schemas.microsoft.com/sharepoint/v3/contenttype/forms"/>
  </ds:schemaRefs>
</ds:datastoreItem>
</file>

<file path=customXml/itemProps2.xml><?xml version="1.0" encoding="utf-8"?>
<ds:datastoreItem xmlns:ds="http://schemas.openxmlformats.org/officeDocument/2006/customXml" ds:itemID="{AC5293E7-DCD4-47A6-B6C8-7F7024F7534B}">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c038ce7e-4169-4d49-9324-5447ee9a6370"/>
    <ds:schemaRef ds:uri="d8e8dd54-27e0-406e-b96e-90470c90af98"/>
    <ds:schemaRef ds:uri="http://www.w3.org/XML/1998/namespace"/>
  </ds:schemaRefs>
</ds:datastoreItem>
</file>

<file path=customXml/itemProps3.xml><?xml version="1.0" encoding="utf-8"?>
<ds:datastoreItem xmlns:ds="http://schemas.openxmlformats.org/officeDocument/2006/customXml" ds:itemID="{323BCEC5-E438-4E92-A620-A1A0567B60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e8dd54-27e0-406e-b96e-90470c90af98"/>
    <ds:schemaRef ds:uri="c038ce7e-4169-4d49-9324-5447ee9a63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enerali Tema_v2</Template>
  <TotalTime>10687</TotalTime>
  <Words>1989</Words>
  <Application>Microsoft Office PowerPoint</Application>
  <PresentationFormat>Widescreen</PresentationFormat>
  <Paragraphs>297</Paragraphs>
  <Slides>23</Slides>
  <Notes>1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Arial Regular</vt:lpstr>
      <vt:lpstr>Calibri</vt:lpstr>
      <vt:lpstr>Calibri Light</vt:lpstr>
      <vt:lpstr>Wingdings</vt:lpstr>
      <vt:lpstr>Generali Tema V3</vt:lpstr>
      <vt:lpstr>1_Generali Tema V3</vt:lpstr>
      <vt:lpstr>Diapositiva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sentini, Alessia</dc:creator>
  <cp:lastModifiedBy>Hernalsteens Floriane</cp:lastModifiedBy>
  <cp:revision>30</cp:revision>
  <dcterms:created xsi:type="dcterms:W3CDTF">2020-01-21T10:15:53Z</dcterms:created>
  <dcterms:modified xsi:type="dcterms:W3CDTF">2021-04-09T13:3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1F8EC6EEE6674499A629B6657B9AC7</vt:lpwstr>
  </property>
</Properties>
</file>